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1"/>
  </p:sldMasterIdLst>
  <p:sldIdLst>
    <p:sldId id="256" r:id="rId2"/>
    <p:sldId id="275" r:id="rId3"/>
    <p:sldId id="269" r:id="rId4"/>
    <p:sldId id="276" r:id="rId5"/>
    <p:sldId id="273" r:id="rId6"/>
    <p:sldId id="274" r:id="rId7"/>
    <p:sldId id="277" r:id="rId8"/>
    <p:sldId id="271" r:id="rId9"/>
    <p:sldId id="279" r:id="rId10"/>
    <p:sldId id="280" r:id="rId11"/>
    <p:sldId id="284" r:id="rId12"/>
    <p:sldId id="285" r:id="rId13"/>
    <p:sldId id="278" r:id="rId14"/>
    <p:sldId id="272" r:id="rId15"/>
    <p:sldId id="281" r:id="rId16"/>
    <p:sldId id="282" r:id="rId17"/>
    <p:sldId id="283" r:id="rId1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EA4B4F4-B062-449F-8515-6E2857025AA7}" v="1116" dt="2025-06-26T09:31:51.238"/>
    <p1510:client id="{E1E0D553-7188-239F-2F2A-4E5EB2E3F7B3}" v="13" dt="2025-06-26T08:23:17.92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athues, Johannes (Stud. WI - DS)" userId="9a5c84ea-3376-4b68-8a58-15ab72718d32" providerId="ADAL" clId="{6EA4B4F4-B062-449F-8515-6E2857025AA7}"/>
    <pc:docChg chg="undo redo custSel addSld delSld modSld sldOrd">
      <pc:chgData name="Nathues, Johannes (Stud. WI - DS)" userId="9a5c84ea-3376-4b68-8a58-15ab72718d32" providerId="ADAL" clId="{6EA4B4F4-B062-449F-8515-6E2857025AA7}" dt="2025-06-26T09:31:51.238" v="3440" actId="1076"/>
      <pc:docMkLst>
        <pc:docMk/>
      </pc:docMkLst>
      <pc:sldChg chg="del ord">
        <pc:chgData name="Nathues, Johannes (Stud. WI - DS)" userId="9a5c84ea-3376-4b68-8a58-15ab72718d32" providerId="ADAL" clId="{6EA4B4F4-B062-449F-8515-6E2857025AA7}" dt="2025-06-25T01:13:22.608" v="1687" actId="47"/>
        <pc:sldMkLst>
          <pc:docMk/>
          <pc:sldMk cId="2224061701" sldId="265"/>
        </pc:sldMkLst>
      </pc:sldChg>
      <pc:sldChg chg="del ord">
        <pc:chgData name="Nathues, Johannes (Stud. WI - DS)" userId="9a5c84ea-3376-4b68-8a58-15ab72718d32" providerId="ADAL" clId="{6EA4B4F4-B062-449F-8515-6E2857025AA7}" dt="2025-06-25T01:13:22.241" v="1686" actId="47"/>
        <pc:sldMkLst>
          <pc:docMk/>
          <pc:sldMk cId="1518205242" sldId="266"/>
        </pc:sldMkLst>
      </pc:sldChg>
      <pc:sldChg chg="del ord">
        <pc:chgData name="Nathues, Johannes (Stud. WI - DS)" userId="9a5c84ea-3376-4b68-8a58-15ab72718d32" providerId="ADAL" clId="{6EA4B4F4-B062-449F-8515-6E2857025AA7}" dt="2025-06-25T01:13:21.749" v="1685" actId="47"/>
        <pc:sldMkLst>
          <pc:docMk/>
          <pc:sldMk cId="3831141817" sldId="267"/>
        </pc:sldMkLst>
      </pc:sldChg>
      <pc:sldChg chg="del">
        <pc:chgData name="Nathues, Johannes (Stud. WI - DS)" userId="9a5c84ea-3376-4b68-8a58-15ab72718d32" providerId="ADAL" clId="{6EA4B4F4-B062-449F-8515-6E2857025AA7}" dt="2025-06-25T01:13:22.887" v="1688" actId="47"/>
        <pc:sldMkLst>
          <pc:docMk/>
          <pc:sldMk cId="3572308156" sldId="268"/>
        </pc:sldMkLst>
      </pc:sldChg>
      <pc:sldChg chg="addSp delSp modSp new mod">
        <pc:chgData name="Nathues, Johannes (Stud. WI - DS)" userId="9a5c84ea-3376-4b68-8a58-15ab72718d32" providerId="ADAL" clId="{6EA4B4F4-B062-449F-8515-6E2857025AA7}" dt="2025-06-25T00:23:27.373" v="749" actId="403"/>
        <pc:sldMkLst>
          <pc:docMk/>
          <pc:sldMk cId="4193201854" sldId="269"/>
        </pc:sldMkLst>
        <pc:spChg chg="mod">
          <ac:chgData name="Nathues, Johannes (Stud. WI - DS)" userId="9a5c84ea-3376-4b68-8a58-15ab72718d32" providerId="ADAL" clId="{6EA4B4F4-B062-449F-8515-6E2857025AA7}" dt="2025-06-24T21:01:06.023" v="103" actId="948"/>
          <ac:spMkLst>
            <pc:docMk/>
            <pc:sldMk cId="4193201854" sldId="269"/>
            <ac:spMk id="2" creationId="{C3E5BB49-2FC8-18DF-635B-CB848126EA41}"/>
          </ac:spMkLst>
        </pc:spChg>
        <pc:spChg chg="mod">
          <ac:chgData name="Nathues, Johannes (Stud. WI - DS)" userId="9a5c84ea-3376-4b68-8a58-15ab72718d32" providerId="ADAL" clId="{6EA4B4F4-B062-449F-8515-6E2857025AA7}" dt="2025-06-25T00:23:27.373" v="749" actId="403"/>
          <ac:spMkLst>
            <pc:docMk/>
            <pc:sldMk cId="4193201854" sldId="269"/>
            <ac:spMk id="3" creationId="{57C5FA06-FD77-5FE2-528E-BC3FC57B882A}"/>
          </ac:spMkLst>
        </pc:spChg>
        <pc:graphicFrameChg chg="add mod ord modVis">
          <ac:chgData name="Nathues, Johannes (Stud. WI - DS)" userId="9a5c84ea-3376-4b68-8a58-15ab72718d32" providerId="ADAL" clId="{6EA4B4F4-B062-449F-8515-6E2857025AA7}" dt="2025-06-24T21:01:06.050" v="127"/>
          <ac:graphicFrameMkLst>
            <pc:docMk/>
            <pc:sldMk cId="4193201854" sldId="269"/>
            <ac:graphicFrameMk id="5" creationId="{34B49CD0-A965-A717-9255-8DE7A7352656}"/>
          </ac:graphicFrameMkLst>
        </pc:graphicFrameChg>
      </pc:sldChg>
      <pc:sldChg chg="addSp delSp modSp new del mod">
        <pc:chgData name="Nathues, Johannes (Stud. WI - DS)" userId="9a5c84ea-3376-4b68-8a58-15ab72718d32" providerId="ADAL" clId="{6EA4B4F4-B062-449F-8515-6E2857025AA7}" dt="2025-06-25T00:26:00.808" v="795" actId="47"/>
        <pc:sldMkLst>
          <pc:docMk/>
          <pc:sldMk cId="4138685604" sldId="270"/>
        </pc:sldMkLst>
        <pc:spChg chg="mod">
          <ac:chgData name="Nathues, Johannes (Stud. WI - DS)" userId="9a5c84ea-3376-4b68-8a58-15ab72718d32" providerId="ADAL" clId="{6EA4B4F4-B062-449F-8515-6E2857025AA7}" dt="2025-06-25T00:24:45.882" v="785" actId="20577"/>
          <ac:spMkLst>
            <pc:docMk/>
            <pc:sldMk cId="4138685604" sldId="270"/>
            <ac:spMk id="3" creationId="{A8A09293-43C8-CBBE-4A57-239203D59A14}"/>
          </ac:spMkLst>
        </pc:spChg>
        <pc:spChg chg="add">
          <ac:chgData name="Nathues, Johannes (Stud. WI - DS)" userId="9a5c84ea-3376-4b68-8a58-15ab72718d32" providerId="ADAL" clId="{6EA4B4F4-B062-449F-8515-6E2857025AA7}" dt="2025-06-25T00:21:19.299" v="727"/>
          <ac:spMkLst>
            <pc:docMk/>
            <pc:sldMk cId="4138685604" sldId="270"/>
            <ac:spMk id="8" creationId="{20ECFF88-24D8-502C-8BAD-19123393FE02}"/>
          </ac:spMkLst>
        </pc:spChg>
        <pc:spChg chg="add">
          <ac:chgData name="Nathues, Johannes (Stud. WI - DS)" userId="9a5c84ea-3376-4b68-8a58-15ab72718d32" providerId="ADAL" clId="{6EA4B4F4-B062-449F-8515-6E2857025AA7}" dt="2025-06-25T00:21:22.817" v="728"/>
          <ac:spMkLst>
            <pc:docMk/>
            <pc:sldMk cId="4138685604" sldId="270"/>
            <ac:spMk id="9" creationId="{E952BE28-DFB1-F108-0D0A-75DD97C6DF4F}"/>
          </ac:spMkLst>
        </pc:spChg>
        <pc:spChg chg="add">
          <ac:chgData name="Nathues, Johannes (Stud. WI - DS)" userId="9a5c84ea-3376-4b68-8a58-15ab72718d32" providerId="ADAL" clId="{6EA4B4F4-B062-449F-8515-6E2857025AA7}" dt="2025-06-25T00:21:42.908" v="729"/>
          <ac:spMkLst>
            <pc:docMk/>
            <pc:sldMk cId="4138685604" sldId="270"/>
            <ac:spMk id="10" creationId="{06E71C7F-7833-760B-6B93-7A06E9CFFB35}"/>
          </ac:spMkLst>
        </pc:spChg>
      </pc:sldChg>
      <pc:sldChg chg="addSp delSp modSp new mod">
        <pc:chgData name="Nathues, Johannes (Stud. WI - DS)" userId="9a5c84ea-3376-4b68-8a58-15ab72718d32" providerId="ADAL" clId="{6EA4B4F4-B062-449F-8515-6E2857025AA7}" dt="2025-06-25T00:41:53.793" v="1176" actId="12"/>
        <pc:sldMkLst>
          <pc:docMk/>
          <pc:sldMk cId="4118510433" sldId="271"/>
        </pc:sldMkLst>
        <pc:spChg chg="mod">
          <ac:chgData name="Nathues, Johannes (Stud. WI - DS)" userId="9a5c84ea-3376-4b68-8a58-15ab72718d32" providerId="ADAL" clId="{6EA4B4F4-B062-449F-8515-6E2857025AA7}" dt="2025-06-24T21:02:16.654" v="290" actId="948"/>
          <ac:spMkLst>
            <pc:docMk/>
            <pc:sldMk cId="4118510433" sldId="271"/>
            <ac:spMk id="2" creationId="{EE162B5A-CDDE-DABB-3449-55E2736494A1}"/>
          </ac:spMkLst>
        </pc:spChg>
        <pc:spChg chg="add del mod">
          <ac:chgData name="Nathues, Johannes (Stud. WI - DS)" userId="9a5c84ea-3376-4b68-8a58-15ab72718d32" providerId="ADAL" clId="{6EA4B4F4-B062-449F-8515-6E2857025AA7}" dt="2025-06-25T00:41:53.793" v="1176" actId="12"/>
          <ac:spMkLst>
            <pc:docMk/>
            <pc:sldMk cId="4118510433" sldId="271"/>
            <ac:spMk id="3" creationId="{B3C5CC11-1283-90D7-4BDB-4CCF3F8E8574}"/>
          </ac:spMkLst>
        </pc:spChg>
        <pc:spChg chg="add mod">
          <ac:chgData name="Nathues, Johannes (Stud. WI - DS)" userId="9a5c84ea-3376-4b68-8a58-15ab72718d32" providerId="ADAL" clId="{6EA4B4F4-B062-449F-8515-6E2857025AA7}" dt="2025-06-25T00:35:30.824" v="1089"/>
          <ac:spMkLst>
            <pc:docMk/>
            <pc:sldMk cId="4118510433" sldId="271"/>
            <ac:spMk id="6" creationId="{A5C8E765-2AC1-BFAD-8123-E3CB2200B15A}"/>
          </ac:spMkLst>
        </pc:spChg>
        <pc:spChg chg="add">
          <ac:chgData name="Nathues, Johannes (Stud. WI - DS)" userId="9a5c84ea-3376-4b68-8a58-15ab72718d32" providerId="ADAL" clId="{6EA4B4F4-B062-449F-8515-6E2857025AA7}" dt="2025-06-25T00:37:37.236" v="1112"/>
          <ac:spMkLst>
            <pc:docMk/>
            <pc:sldMk cId="4118510433" sldId="271"/>
            <ac:spMk id="7" creationId="{BBFD616E-B023-88CB-3181-85E4A481AC48}"/>
          </ac:spMkLst>
        </pc:spChg>
        <pc:graphicFrameChg chg="add mod ord modVis">
          <ac:chgData name="Nathues, Johannes (Stud. WI - DS)" userId="9a5c84ea-3376-4b68-8a58-15ab72718d32" providerId="ADAL" clId="{6EA4B4F4-B062-449F-8515-6E2857025AA7}" dt="2025-06-24T21:02:16.681" v="314"/>
          <ac:graphicFrameMkLst>
            <pc:docMk/>
            <pc:sldMk cId="4118510433" sldId="271"/>
            <ac:graphicFrameMk id="4" creationId="{7DE97D24-E937-82A2-7F23-26DBD3B23494}"/>
          </ac:graphicFrameMkLst>
        </pc:graphicFrameChg>
      </pc:sldChg>
      <pc:sldChg chg="addSp delSp modSp new mod">
        <pc:chgData name="Nathues, Johannes (Stud. WI - DS)" userId="9a5c84ea-3376-4b68-8a58-15ab72718d32" providerId="ADAL" clId="{6EA4B4F4-B062-449F-8515-6E2857025AA7}" dt="2025-06-25T00:59:23.782" v="1542" actId="114"/>
        <pc:sldMkLst>
          <pc:docMk/>
          <pc:sldMk cId="2409954293" sldId="272"/>
        </pc:sldMkLst>
        <pc:spChg chg="mod">
          <ac:chgData name="Nathues, Johannes (Stud. WI - DS)" userId="9a5c84ea-3376-4b68-8a58-15ab72718d32" providerId="ADAL" clId="{6EA4B4F4-B062-449F-8515-6E2857025AA7}" dt="2025-06-24T21:02:36.165" v="502" actId="948"/>
          <ac:spMkLst>
            <pc:docMk/>
            <pc:sldMk cId="2409954293" sldId="272"/>
            <ac:spMk id="2" creationId="{1D87B858-2A50-E3DB-6645-CEC731CE3951}"/>
          </ac:spMkLst>
        </pc:spChg>
        <pc:spChg chg="mod">
          <ac:chgData name="Nathues, Johannes (Stud. WI - DS)" userId="9a5c84ea-3376-4b68-8a58-15ab72718d32" providerId="ADAL" clId="{6EA4B4F4-B062-449F-8515-6E2857025AA7}" dt="2025-06-25T00:59:23.782" v="1542" actId="114"/>
          <ac:spMkLst>
            <pc:docMk/>
            <pc:sldMk cId="2409954293" sldId="272"/>
            <ac:spMk id="3" creationId="{E00C5ED4-75DD-A825-4E1F-4F7B4D96DDFF}"/>
          </ac:spMkLst>
        </pc:spChg>
        <pc:spChg chg="add">
          <ac:chgData name="Nathues, Johannes (Stud. WI - DS)" userId="9a5c84ea-3376-4b68-8a58-15ab72718d32" providerId="ADAL" clId="{6EA4B4F4-B062-449F-8515-6E2857025AA7}" dt="2025-06-25T00:51:01.422" v="1363"/>
          <ac:spMkLst>
            <pc:docMk/>
            <pc:sldMk cId="2409954293" sldId="272"/>
            <ac:spMk id="16" creationId="{CB6620EF-214C-9182-ED9A-224FD8E972FF}"/>
          </ac:spMkLst>
        </pc:spChg>
        <pc:graphicFrameChg chg="add mod ord modVis">
          <ac:chgData name="Nathues, Johannes (Stud. WI - DS)" userId="9a5c84ea-3376-4b68-8a58-15ab72718d32" providerId="ADAL" clId="{6EA4B4F4-B062-449F-8515-6E2857025AA7}" dt="2025-06-24T21:02:36.200" v="526"/>
          <ac:graphicFrameMkLst>
            <pc:docMk/>
            <pc:sldMk cId="2409954293" sldId="272"/>
            <ac:graphicFrameMk id="5" creationId="{1AB7E046-0874-96FA-DF34-0F0CF9112E90}"/>
          </ac:graphicFrameMkLst>
        </pc:graphicFrameChg>
        <pc:picChg chg="add del mod">
          <ac:chgData name="Nathues, Johannes (Stud. WI - DS)" userId="9a5c84ea-3376-4b68-8a58-15ab72718d32" providerId="ADAL" clId="{6EA4B4F4-B062-449F-8515-6E2857025AA7}" dt="2025-06-25T00:50:20.558" v="1353" actId="478"/>
          <ac:picMkLst>
            <pc:docMk/>
            <pc:sldMk cId="2409954293" sldId="272"/>
            <ac:picMk id="13" creationId="{7B8216F2-407C-4442-A3F6-426F19E7DA86}"/>
          </ac:picMkLst>
        </pc:picChg>
        <pc:picChg chg="add mod">
          <ac:chgData name="Nathues, Johannes (Stud. WI - DS)" userId="9a5c84ea-3376-4b68-8a58-15ab72718d32" providerId="ADAL" clId="{6EA4B4F4-B062-449F-8515-6E2857025AA7}" dt="2025-06-25T00:57:02.099" v="1503" actId="1076"/>
          <ac:picMkLst>
            <pc:docMk/>
            <pc:sldMk cId="2409954293" sldId="272"/>
            <ac:picMk id="15" creationId="{3298624B-0A22-6AF4-6CA1-B49907BF8BA1}"/>
          </ac:picMkLst>
        </pc:picChg>
      </pc:sldChg>
      <pc:sldChg chg="modSp add mod">
        <pc:chgData name="Nathues, Johannes (Stud. WI - DS)" userId="9a5c84ea-3376-4b68-8a58-15ab72718d32" providerId="ADAL" clId="{6EA4B4F4-B062-449F-8515-6E2857025AA7}" dt="2025-06-25T00:25:38.503" v="794" actId="1076"/>
        <pc:sldMkLst>
          <pc:docMk/>
          <pc:sldMk cId="1930297586" sldId="273"/>
        </pc:sldMkLst>
        <pc:spChg chg="mod">
          <ac:chgData name="Nathues, Johannes (Stud. WI - DS)" userId="9a5c84ea-3376-4b68-8a58-15ab72718d32" providerId="ADAL" clId="{6EA4B4F4-B062-449F-8515-6E2857025AA7}" dt="2025-06-25T00:25:38.503" v="794" actId="1076"/>
          <ac:spMkLst>
            <pc:docMk/>
            <pc:sldMk cId="1930297586" sldId="273"/>
            <ac:spMk id="3" creationId="{8A464E7E-1EA1-E6E8-1F9C-6BA9F8CF6797}"/>
          </ac:spMkLst>
        </pc:spChg>
      </pc:sldChg>
      <pc:sldChg chg="addSp modSp add mod">
        <pc:chgData name="Nathues, Johannes (Stud. WI - DS)" userId="9a5c84ea-3376-4b68-8a58-15ab72718d32" providerId="ADAL" clId="{6EA4B4F4-B062-449F-8515-6E2857025AA7}" dt="2025-06-26T08:25:56.701" v="2757" actId="207"/>
        <pc:sldMkLst>
          <pc:docMk/>
          <pc:sldMk cId="1970932390" sldId="274"/>
        </pc:sldMkLst>
        <pc:spChg chg="mod">
          <ac:chgData name="Nathues, Johannes (Stud. WI - DS)" userId="9a5c84ea-3376-4b68-8a58-15ab72718d32" providerId="ADAL" clId="{6EA4B4F4-B062-449F-8515-6E2857025AA7}" dt="2025-06-26T08:25:56.701" v="2757" actId="207"/>
          <ac:spMkLst>
            <pc:docMk/>
            <pc:sldMk cId="1970932390" sldId="274"/>
            <ac:spMk id="3" creationId="{53570FA2-B925-14C2-2D76-BC6EB86224CB}"/>
          </ac:spMkLst>
        </pc:spChg>
        <pc:spChg chg="add">
          <ac:chgData name="Nathues, Johannes (Stud. WI - DS)" userId="9a5c84ea-3376-4b68-8a58-15ab72718d32" providerId="ADAL" clId="{6EA4B4F4-B062-449F-8515-6E2857025AA7}" dt="2025-06-25T00:26:15.068" v="797"/>
          <ac:spMkLst>
            <pc:docMk/>
            <pc:sldMk cId="1970932390" sldId="274"/>
            <ac:spMk id="5" creationId="{B48D49DD-E4F3-A652-2FA6-3CBF5787BF51}"/>
          </ac:spMkLst>
        </pc:spChg>
        <pc:spChg chg="add">
          <ac:chgData name="Nathues, Johannes (Stud. WI - DS)" userId="9a5c84ea-3376-4b68-8a58-15ab72718d32" providerId="ADAL" clId="{6EA4B4F4-B062-449F-8515-6E2857025AA7}" dt="2025-06-25T00:26:17.948" v="798"/>
          <ac:spMkLst>
            <pc:docMk/>
            <pc:sldMk cId="1970932390" sldId="274"/>
            <ac:spMk id="6" creationId="{A7089735-B8CE-F25C-6C65-B270AF430D93}"/>
          </ac:spMkLst>
        </pc:spChg>
        <pc:spChg chg="add">
          <ac:chgData name="Nathues, Johannes (Stud. WI - DS)" userId="9a5c84ea-3376-4b68-8a58-15ab72718d32" providerId="ADAL" clId="{6EA4B4F4-B062-449F-8515-6E2857025AA7}" dt="2025-06-25T00:31:14.923" v="1045"/>
          <ac:spMkLst>
            <pc:docMk/>
            <pc:sldMk cId="1970932390" sldId="274"/>
            <ac:spMk id="7" creationId="{6355CF95-8D15-5242-2057-2988102852D1}"/>
          </ac:spMkLst>
        </pc:spChg>
        <pc:spChg chg="add">
          <ac:chgData name="Nathues, Johannes (Stud. WI - DS)" userId="9a5c84ea-3376-4b68-8a58-15ab72718d32" providerId="ADAL" clId="{6EA4B4F4-B062-449F-8515-6E2857025AA7}" dt="2025-06-25T00:31:20.908" v="1047"/>
          <ac:spMkLst>
            <pc:docMk/>
            <pc:sldMk cId="1970932390" sldId="274"/>
            <ac:spMk id="8" creationId="{8A6E945C-EF34-F199-EA0B-A21D765B9672}"/>
          </ac:spMkLst>
        </pc:spChg>
      </pc:sldChg>
      <pc:sldChg chg="addSp delSp modSp new mod">
        <pc:chgData name="Nathues, Johannes (Stud. WI - DS)" userId="9a5c84ea-3376-4b68-8a58-15ab72718d32" providerId="ADAL" clId="{6EA4B4F4-B062-449F-8515-6E2857025AA7}" dt="2025-06-25T00:39:48.212" v="1156" actId="1076"/>
        <pc:sldMkLst>
          <pc:docMk/>
          <pc:sldMk cId="3266455649" sldId="275"/>
        </pc:sldMkLst>
        <pc:spChg chg="del">
          <ac:chgData name="Nathues, Johannes (Stud. WI - DS)" userId="9a5c84ea-3376-4b68-8a58-15ab72718d32" providerId="ADAL" clId="{6EA4B4F4-B062-449F-8515-6E2857025AA7}" dt="2025-06-25T00:39:33.172" v="1140" actId="478"/>
          <ac:spMkLst>
            <pc:docMk/>
            <pc:sldMk cId="3266455649" sldId="275"/>
            <ac:spMk id="2" creationId="{9F3D8476-AD8D-C973-C09E-4940E3400CA4}"/>
          </ac:spMkLst>
        </pc:spChg>
        <pc:spChg chg="del">
          <ac:chgData name="Nathues, Johannes (Stud. WI - DS)" userId="9a5c84ea-3376-4b68-8a58-15ab72718d32" providerId="ADAL" clId="{6EA4B4F4-B062-449F-8515-6E2857025AA7}" dt="2025-06-25T00:39:34.237" v="1155" actId="478"/>
          <ac:spMkLst>
            <pc:docMk/>
            <pc:sldMk cId="3266455649" sldId="275"/>
            <ac:spMk id="3" creationId="{DCC284E6-2CDE-1B85-1589-5F5813635DB7}"/>
          </ac:spMkLst>
        </pc:spChg>
        <pc:spChg chg="add mod">
          <ac:chgData name="Nathues, Johannes (Stud. WI - DS)" userId="9a5c84ea-3376-4b68-8a58-15ab72718d32" providerId="ADAL" clId="{6EA4B4F4-B062-449F-8515-6E2857025AA7}" dt="2025-06-25T00:39:48.212" v="1156" actId="1076"/>
          <ac:spMkLst>
            <pc:docMk/>
            <pc:sldMk cId="3266455649" sldId="275"/>
            <ac:spMk id="5" creationId="{F9132D96-CDDF-BEEB-CC49-8EA2E9F44464}"/>
          </ac:spMkLst>
        </pc:spChg>
        <pc:graphicFrameChg chg="add mod ord modVis">
          <ac:chgData name="Nathues, Johannes (Stud. WI - DS)" userId="9a5c84ea-3376-4b68-8a58-15ab72718d32" providerId="ADAL" clId="{6EA4B4F4-B062-449F-8515-6E2857025AA7}" dt="2025-06-25T00:39:33.822" v="1154"/>
          <ac:graphicFrameMkLst>
            <pc:docMk/>
            <pc:sldMk cId="3266455649" sldId="275"/>
            <ac:graphicFrameMk id="6" creationId="{301014B4-70AE-7C5F-2279-1DD202C387C2}"/>
          </ac:graphicFrameMkLst>
        </pc:graphicFrameChg>
      </pc:sldChg>
      <pc:sldChg chg="modSp add">
        <pc:chgData name="Nathues, Johannes (Stud. WI - DS)" userId="9a5c84ea-3376-4b68-8a58-15ab72718d32" providerId="ADAL" clId="{6EA4B4F4-B062-449F-8515-6E2857025AA7}" dt="2025-06-25T00:40:08.467" v="1158"/>
        <pc:sldMkLst>
          <pc:docMk/>
          <pc:sldMk cId="3060010833" sldId="276"/>
        </pc:sldMkLst>
        <pc:spChg chg="mod">
          <ac:chgData name="Nathues, Johannes (Stud. WI - DS)" userId="9a5c84ea-3376-4b68-8a58-15ab72718d32" providerId="ADAL" clId="{6EA4B4F4-B062-449F-8515-6E2857025AA7}" dt="2025-06-25T00:40:08.467" v="1158"/>
          <ac:spMkLst>
            <pc:docMk/>
            <pc:sldMk cId="3060010833" sldId="276"/>
            <ac:spMk id="5" creationId="{40F7BEBD-2B7E-8404-7945-B71AEC5E4711}"/>
          </ac:spMkLst>
        </pc:spChg>
      </pc:sldChg>
      <pc:sldChg chg="modSp add">
        <pc:chgData name="Nathues, Johannes (Stud. WI - DS)" userId="9a5c84ea-3376-4b68-8a58-15ab72718d32" providerId="ADAL" clId="{6EA4B4F4-B062-449F-8515-6E2857025AA7}" dt="2025-06-25T00:40:21.811" v="1161"/>
        <pc:sldMkLst>
          <pc:docMk/>
          <pc:sldMk cId="2155129946" sldId="277"/>
        </pc:sldMkLst>
        <pc:spChg chg="mod">
          <ac:chgData name="Nathues, Johannes (Stud. WI - DS)" userId="9a5c84ea-3376-4b68-8a58-15ab72718d32" providerId="ADAL" clId="{6EA4B4F4-B062-449F-8515-6E2857025AA7}" dt="2025-06-25T00:40:21.811" v="1161"/>
          <ac:spMkLst>
            <pc:docMk/>
            <pc:sldMk cId="2155129946" sldId="277"/>
            <ac:spMk id="5" creationId="{6DEF7712-6CED-0530-0D62-E45FF9FEDB01}"/>
          </ac:spMkLst>
        </pc:spChg>
      </pc:sldChg>
      <pc:sldChg chg="modSp add mod">
        <pc:chgData name="Nathues, Johannes (Stud. WI - DS)" userId="9a5c84ea-3376-4b68-8a58-15ab72718d32" providerId="ADAL" clId="{6EA4B4F4-B062-449F-8515-6E2857025AA7}" dt="2025-06-25T00:40:41.327" v="1164" actId="14100"/>
        <pc:sldMkLst>
          <pc:docMk/>
          <pc:sldMk cId="2332926187" sldId="278"/>
        </pc:sldMkLst>
        <pc:spChg chg="mod">
          <ac:chgData name="Nathues, Johannes (Stud. WI - DS)" userId="9a5c84ea-3376-4b68-8a58-15ab72718d32" providerId="ADAL" clId="{6EA4B4F4-B062-449F-8515-6E2857025AA7}" dt="2025-06-25T00:40:41.327" v="1164" actId="14100"/>
          <ac:spMkLst>
            <pc:docMk/>
            <pc:sldMk cId="2332926187" sldId="278"/>
            <ac:spMk id="5" creationId="{BDE5E32F-EB33-7B85-936D-CCC7255D4CDE}"/>
          </ac:spMkLst>
        </pc:spChg>
      </pc:sldChg>
      <pc:sldChg chg="modSp add mod">
        <pc:chgData name="Nathues, Johannes (Stud. WI - DS)" userId="9a5c84ea-3376-4b68-8a58-15ab72718d32" providerId="ADAL" clId="{6EA4B4F4-B062-449F-8515-6E2857025AA7}" dt="2025-06-25T00:41:36.263" v="1172" actId="1076"/>
        <pc:sldMkLst>
          <pc:docMk/>
          <pc:sldMk cId="1948678549" sldId="279"/>
        </pc:sldMkLst>
        <pc:spChg chg="mod">
          <ac:chgData name="Nathues, Johannes (Stud. WI - DS)" userId="9a5c84ea-3376-4b68-8a58-15ab72718d32" providerId="ADAL" clId="{6EA4B4F4-B062-449F-8515-6E2857025AA7}" dt="2025-06-25T00:41:36.263" v="1172" actId="1076"/>
          <ac:spMkLst>
            <pc:docMk/>
            <pc:sldMk cId="1948678549" sldId="279"/>
            <ac:spMk id="3" creationId="{7F843D1C-2D2B-A4D2-B5BA-09FF7C478522}"/>
          </ac:spMkLst>
        </pc:spChg>
      </pc:sldChg>
      <pc:sldChg chg="addSp delSp modSp add mod">
        <pc:chgData name="Nathues, Johannes (Stud. WI - DS)" userId="9a5c84ea-3376-4b68-8a58-15ab72718d32" providerId="ADAL" clId="{6EA4B4F4-B062-449F-8515-6E2857025AA7}" dt="2025-06-26T09:31:51.238" v="3440" actId="1076"/>
        <pc:sldMkLst>
          <pc:docMk/>
          <pc:sldMk cId="2125121149" sldId="280"/>
        </pc:sldMkLst>
        <pc:spChg chg="mod">
          <ac:chgData name="Nathues, Johannes (Stud. WI - DS)" userId="9a5c84ea-3376-4b68-8a58-15ab72718d32" providerId="ADAL" clId="{6EA4B4F4-B062-449F-8515-6E2857025AA7}" dt="2025-06-26T09:31:51.238" v="3440" actId="1076"/>
          <ac:spMkLst>
            <pc:docMk/>
            <pc:sldMk cId="2125121149" sldId="280"/>
            <ac:spMk id="3" creationId="{9D59748A-4772-BDBE-E19F-F7BDBA40C160}"/>
          </ac:spMkLst>
        </pc:spChg>
        <pc:picChg chg="add del mod">
          <ac:chgData name="Nathues, Johannes (Stud. WI - DS)" userId="9a5c84ea-3376-4b68-8a58-15ab72718d32" providerId="ADAL" clId="{6EA4B4F4-B062-449F-8515-6E2857025AA7}" dt="2025-06-26T09:31:48.957" v="3439" actId="478"/>
          <ac:picMkLst>
            <pc:docMk/>
            <pc:sldMk cId="2125121149" sldId="280"/>
            <ac:picMk id="6" creationId="{2134C46D-E90A-932C-36A4-022AA783BD1F}"/>
          </ac:picMkLst>
        </pc:picChg>
      </pc:sldChg>
      <pc:sldChg chg="delSp modSp add mod">
        <pc:chgData name="Nathues, Johannes (Stud. WI - DS)" userId="9a5c84ea-3376-4b68-8a58-15ab72718d32" providerId="ADAL" clId="{6EA4B4F4-B062-449F-8515-6E2857025AA7}" dt="2025-06-25T01:06:13.286" v="1683" actId="478"/>
        <pc:sldMkLst>
          <pc:docMk/>
          <pc:sldMk cId="2789507687" sldId="281"/>
        </pc:sldMkLst>
        <pc:spChg chg="mod">
          <ac:chgData name="Nathues, Johannes (Stud. WI - DS)" userId="9a5c84ea-3376-4b68-8a58-15ab72718d32" providerId="ADAL" clId="{6EA4B4F4-B062-449F-8515-6E2857025AA7}" dt="2025-06-25T01:03:02.356" v="1587" actId="1035"/>
          <ac:spMkLst>
            <pc:docMk/>
            <pc:sldMk cId="2789507687" sldId="281"/>
            <ac:spMk id="3" creationId="{0AD8839A-297D-21DF-15E5-FB740AEA6D5E}"/>
          </ac:spMkLst>
        </pc:spChg>
        <pc:picChg chg="del">
          <ac:chgData name="Nathues, Johannes (Stud. WI - DS)" userId="9a5c84ea-3376-4b68-8a58-15ab72718d32" providerId="ADAL" clId="{6EA4B4F4-B062-449F-8515-6E2857025AA7}" dt="2025-06-25T01:06:13.286" v="1683" actId="478"/>
          <ac:picMkLst>
            <pc:docMk/>
            <pc:sldMk cId="2789507687" sldId="281"/>
            <ac:picMk id="15" creationId="{3BC69532-4388-19A1-31B4-71C2E172DDF5}"/>
          </ac:picMkLst>
        </pc:picChg>
      </pc:sldChg>
      <pc:sldChg chg="delSp modSp add mod">
        <pc:chgData name="Nathues, Johannes (Stud. WI - DS)" userId="9a5c84ea-3376-4b68-8a58-15ab72718d32" providerId="ADAL" clId="{6EA4B4F4-B062-449F-8515-6E2857025AA7}" dt="2025-06-25T01:06:10.677" v="1682" actId="478"/>
        <pc:sldMkLst>
          <pc:docMk/>
          <pc:sldMk cId="2685917160" sldId="282"/>
        </pc:sldMkLst>
        <pc:spChg chg="mod">
          <ac:chgData name="Nathues, Johannes (Stud. WI - DS)" userId="9a5c84ea-3376-4b68-8a58-15ab72718d32" providerId="ADAL" clId="{6EA4B4F4-B062-449F-8515-6E2857025AA7}" dt="2025-06-25T01:06:05.439" v="1681" actId="5793"/>
          <ac:spMkLst>
            <pc:docMk/>
            <pc:sldMk cId="2685917160" sldId="282"/>
            <ac:spMk id="3" creationId="{729EA771-0D1E-3F71-4367-03491F020952}"/>
          </ac:spMkLst>
        </pc:spChg>
        <pc:picChg chg="del">
          <ac:chgData name="Nathues, Johannes (Stud. WI - DS)" userId="9a5c84ea-3376-4b68-8a58-15ab72718d32" providerId="ADAL" clId="{6EA4B4F4-B062-449F-8515-6E2857025AA7}" dt="2025-06-25T01:06:10.677" v="1682" actId="478"/>
          <ac:picMkLst>
            <pc:docMk/>
            <pc:sldMk cId="2685917160" sldId="282"/>
            <ac:picMk id="15" creationId="{6AFEC3DE-1E8E-92DE-2FAE-BF9EB98F556D}"/>
          </ac:picMkLst>
        </pc:picChg>
      </pc:sldChg>
      <pc:sldChg chg="new del">
        <pc:chgData name="Nathues, Johannes (Stud. WI - DS)" userId="9a5c84ea-3376-4b68-8a58-15ab72718d32" providerId="ADAL" clId="{6EA4B4F4-B062-449F-8515-6E2857025AA7}" dt="2025-06-25T01:13:23.233" v="1689" actId="47"/>
        <pc:sldMkLst>
          <pc:docMk/>
          <pc:sldMk cId="903015366" sldId="283"/>
        </pc:sldMkLst>
      </pc:sldChg>
      <pc:sldChg chg="addSp delSp modSp new mod">
        <pc:chgData name="Nathues, Johannes (Stud. WI - DS)" userId="9a5c84ea-3376-4b68-8a58-15ab72718d32" providerId="ADAL" clId="{6EA4B4F4-B062-449F-8515-6E2857025AA7}" dt="2025-06-25T23:48:44.919" v="2634" actId="1076"/>
        <pc:sldMkLst>
          <pc:docMk/>
          <pc:sldMk cId="3705484788" sldId="283"/>
        </pc:sldMkLst>
        <pc:spChg chg="mod">
          <ac:chgData name="Nathues, Johannes (Stud. WI - DS)" userId="9a5c84ea-3376-4b68-8a58-15ab72718d32" providerId="ADAL" clId="{6EA4B4F4-B062-449F-8515-6E2857025AA7}" dt="2025-06-25T23:48:34.489" v="2608" actId="948"/>
          <ac:spMkLst>
            <pc:docMk/>
            <pc:sldMk cId="3705484788" sldId="283"/>
            <ac:spMk id="2" creationId="{8C1C35A3-CB4F-B5AB-2296-94558DE268E2}"/>
          </ac:spMkLst>
        </pc:spChg>
        <pc:spChg chg="mod">
          <ac:chgData name="Nathues, Johannes (Stud. WI - DS)" userId="9a5c84ea-3376-4b68-8a58-15ab72718d32" providerId="ADAL" clId="{6EA4B4F4-B062-449F-8515-6E2857025AA7}" dt="2025-06-25T23:48:42.516" v="2633" actId="404"/>
          <ac:spMkLst>
            <pc:docMk/>
            <pc:sldMk cId="3705484788" sldId="283"/>
            <ac:spMk id="3" creationId="{74016A90-6040-53C2-0661-FD00120A6E76}"/>
          </ac:spMkLst>
        </pc:spChg>
        <pc:spChg chg="add del mod modVis">
          <ac:chgData name="Nathues, Johannes (Stud. WI - DS)" userId="9a5c84ea-3376-4b68-8a58-15ab72718d32" providerId="ADAL" clId="{6EA4B4F4-B062-449F-8515-6E2857025AA7}" dt="2025-06-25T23:44:47.103" v="1883"/>
          <ac:spMkLst>
            <pc:docMk/>
            <pc:sldMk cId="3705484788" sldId="283"/>
            <ac:spMk id="4" creationId="{75D20D05-AF84-7723-EE83-32D60552301A}"/>
          </ac:spMkLst>
        </pc:spChg>
        <pc:spChg chg="add del mod modVis">
          <ac:chgData name="Nathues, Johannes (Stud. WI - DS)" userId="9a5c84ea-3376-4b68-8a58-15ab72718d32" providerId="ADAL" clId="{6EA4B4F4-B062-449F-8515-6E2857025AA7}" dt="2025-06-25T23:44:48.081" v="1923"/>
          <ac:spMkLst>
            <pc:docMk/>
            <pc:sldMk cId="3705484788" sldId="283"/>
            <ac:spMk id="6" creationId="{17933F30-57E9-A1BA-5825-8A8A6DD808A2}"/>
          </ac:spMkLst>
        </pc:spChg>
        <pc:spChg chg="add del mod modVis">
          <ac:chgData name="Nathues, Johannes (Stud. WI - DS)" userId="9a5c84ea-3376-4b68-8a58-15ab72718d32" providerId="ADAL" clId="{6EA4B4F4-B062-449F-8515-6E2857025AA7}" dt="2025-06-25T23:44:53.065" v="1953"/>
          <ac:spMkLst>
            <pc:docMk/>
            <pc:sldMk cId="3705484788" sldId="283"/>
            <ac:spMk id="7" creationId="{3E5DEA6A-EA13-CA9E-43A7-35BF2C4A1824}"/>
          </ac:spMkLst>
        </pc:spChg>
        <pc:spChg chg="add del mod modVis">
          <ac:chgData name="Nathues, Johannes (Stud. WI - DS)" userId="9a5c84ea-3376-4b68-8a58-15ab72718d32" providerId="ADAL" clId="{6EA4B4F4-B062-449F-8515-6E2857025AA7}" dt="2025-06-25T23:44:55.142" v="1984"/>
          <ac:spMkLst>
            <pc:docMk/>
            <pc:sldMk cId="3705484788" sldId="283"/>
            <ac:spMk id="8" creationId="{FFBC3FB0-06B2-2BD1-3F4F-E4901E3AE878}"/>
          </ac:spMkLst>
        </pc:spChg>
        <pc:spChg chg="add del mod modVis">
          <ac:chgData name="Nathues, Johannes (Stud. WI - DS)" userId="9a5c84ea-3376-4b68-8a58-15ab72718d32" providerId="ADAL" clId="{6EA4B4F4-B062-449F-8515-6E2857025AA7}" dt="2025-06-25T23:44:56.082" v="2009"/>
          <ac:spMkLst>
            <pc:docMk/>
            <pc:sldMk cId="3705484788" sldId="283"/>
            <ac:spMk id="9" creationId="{FCA9C3BF-42C2-3E12-3E9B-A5D581DCBCCD}"/>
          </ac:spMkLst>
        </pc:spChg>
        <pc:spChg chg="add del mod modVis">
          <ac:chgData name="Nathues, Johannes (Stud. WI - DS)" userId="9a5c84ea-3376-4b68-8a58-15ab72718d32" providerId="ADAL" clId="{6EA4B4F4-B062-449F-8515-6E2857025AA7}" dt="2025-06-25T23:44:56.839" v="2034"/>
          <ac:spMkLst>
            <pc:docMk/>
            <pc:sldMk cId="3705484788" sldId="283"/>
            <ac:spMk id="10" creationId="{D01C60D9-A762-6520-F8FC-5ACFAA680676}"/>
          </ac:spMkLst>
        </pc:spChg>
        <pc:spChg chg="add del mod modVis">
          <ac:chgData name="Nathues, Johannes (Stud. WI - DS)" userId="9a5c84ea-3376-4b68-8a58-15ab72718d32" providerId="ADAL" clId="{6EA4B4F4-B062-449F-8515-6E2857025AA7}" dt="2025-06-25T23:45:00.157" v="2068"/>
          <ac:spMkLst>
            <pc:docMk/>
            <pc:sldMk cId="3705484788" sldId="283"/>
            <ac:spMk id="11" creationId="{AE8D04CF-C0A2-CE8D-E1D9-78875A766D8F}"/>
          </ac:spMkLst>
        </pc:spChg>
        <pc:spChg chg="add del mod modVis">
          <ac:chgData name="Nathues, Johannes (Stud. WI - DS)" userId="9a5c84ea-3376-4b68-8a58-15ab72718d32" providerId="ADAL" clId="{6EA4B4F4-B062-449F-8515-6E2857025AA7}" dt="2025-06-25T23:45:02.010" v="2099"/>
          <ac:spMkLst>
            <pc:docMk/>
            <pc:sldMk cId="3705484788" sldId="283"/>
            <ac:spMk id="12" creationId="{E169652E-9EB6-30FA-EF91-26727739D5A5}"/>
          </ac:spMkLst>
        </pc:spChg>
        <pc:spChg chg="add del mod modVis">
          <ac:chgData name="Nathues, Johannes (Stud. WI - DS)" userId="9a5c84ea-3376-4b68-8a58-15ab72718d32" providerId="ADAL" clId="{6EA4B4F4-B062-449F-8515-6E2857025AA7}" dt="2025-06-25T23:45:03.325" v="2127"/>
          <ac:spMkLst>
            <pc:docMk/>
            <pc:sldMk cId="3705484788" sldId="283"/>
            <ac:spMk id="13" creationId="{3B88FBE5-9D09-6909-41CB-42198F38AB35}"/>
          </ac:spMkLst>
        </pc:spChg>
        <pc:spChg chg="add del mod modVis">
          <ac:chgData name="Nathues, Johannes (Stud. WI - DS)" userId="9a5c84ea-3376-4b68-8a58-15ab72718d32" providerId="ADAL" clId="{6EA4B4F4-B062-449F-8515-6E2857025AA7}" dt="2025-06-25T23:45:04.066" v="2153"/>
          <ac:spMkLst>
            <pc:docMk/>
            <pc:sldMk cId="3705484788" sldId="283"/>
            <ac:spMk id="14" creationId="{357516B7-A9BC-BC85-8F15-24B242476DF0}"/>
          </ac:spMkLst>
        </pc:spChg>
        <pc:spChg chg="add del mod modVis">
          <ac:chgData name="Nathues, Johannes (Stud. WI - DS)" userId="9a5c84ea-3376-4b68-8a58-15ab72718d32" providerId="ADAL" clId="{6EA4B4F4-B062-449F-8515-6E2857025AA7}" dt="2025-06-25T23:45:05.174" v="2180"/>
          <ac:spMkLst>
            <pc:docMk/>
            <pc:sldMk cId="3705484788" sldId="283"/>
            <ac:spMk id="15" creationId="{5461F577-A75E-7DF2-05A8-EDBA0541FFDE}"/>
          </ac:spMkLst>
        </pc:spChg>
        <pc:spChg chg="add del mod modVis">
          <ac:chgData name="Nathues, Johannes (Stud. WI - DS)" userId="9a5c84ea-3376-4b68-8a58-15ab72718d32" providerId="ADAL" clId="{6EA4B4F4-B062-449F-8515-6E2857025AA7}" dt="2025-06-25T23:45:06.915" v="2217"/>
          <ac:spMkLst>
            <pc:docMk/>
            <pc:sldMk cId="3705484788" sldId="283"/>
            <ac:spMk id="16" creationId="{9BC85C3E-EA59-DDD2-94A9-1B3CC40E1031}"/>
          </ac:spMkLst>
        </pc:spChg>
        <pc:spChg chg="add del mod modVis">
          <ac:chgData name="Nathues, Johannes (Stud. WI - DS)" userId="9a5c84ea-3376-4b68-8a58-15ab72718d32" providerId="ADAL" clId="{6EA4B4F4-B062-449F-8515-6E2857025AA7}" dt="2025-06-25T23:45:07.704" v="2242"/>
          <ac:spMkLst>
            <pc:docMk/>
            <pc:sldMk cId="3705484788" sldId="283"/>
            <ac:spMk id="17" creationId="{5CC74ACB-4621-F3B4-E2CF-38690D6A753E}"/>
          </ac:spMkLst>
        </pc:spChg>
        <pc:spChg chg="add del mod modVis">
          <ac:chgData name="Nathues, Johannes (Stud. WI - DS)" userId="9a5c84ea-3376-4b68-8a58-15ab72718d32" providerId="ADAL" clId="{6EA4B4F4-B062-449F-8515-6E2857025AA7}" dt="2025-06-25T23:46:51.363" v="2270"/>
          <ac:spMkLst>
            <pc:docMk/>
            <pc:sldMk cId="3705484788" sldId="283"/>
            <ac:spMk id="18" creationId="{A02F03D1-B7D6-121F-7500-944258E2E1D3}"/>
          </ac:spMkLst>
        </pc:spChg>
        <pc:spChg chg="add del mod modVis">
          <ac:chgData name="Nathues, Johannes (Stud. WI - DS)" userId="9a5c84ea-3376-4b68-8a58-15ab72718d32" providerId="ADAL" clId="{6EA4B4F4-B062-449F-8515-6E2857025AA7}" dt="2025-06-25T23:47:15.827" v="2335"/>
          <ac:spMkLst>
            <pc:docMk/>
            <pc:sldMk cId="3705484788" sldId="283"/>
            <ac:spMk id="19" creationId="{60603477-077D-54B7-4106-6DC2D7FAB1D6}"/>
          </ac:spMkLst>
        </pc:spChg>
        <pc:spChg chg="add del mod modVis">
          <ac:chgData name="Nathues, Johannes (Stud. WI - DS)" userId="9a5c84ea-3376-4b68-8a58-15ab72718d32" providerId="ADAL" clId="{6EA4B4F4-B062-449F-8515-6E2857025AA7}" dt="2025-06-25T23:47:19.935" v="2373"/>
          <ac:spMkLst>
            <pc:docMk/>
            <pc:sldMk cId="3705484788" sldId="283"/>
            <ac:spMk id="20" creationId="{FE9C12FF-E960-5BBD-49D8-1AD25EDB0D5B}"/>
          </ac:spMkLst>
        </pc:spChg>
        <pc:spChg chg="add del mod modVis">
          <ac:chgData name="Nathues, Johannes (Stud. WI - DS)" userId="9a5c84ea-3376-4b68-8a58-15ab72718d32" providerId="ADAL" clId="{6EA4B4F4-B062-449F-8515-6E2857025AA7}" dt="2025-06-25T23:47:21.897" v="2404"/>
          <ac:spMkLst>
            <pc:docMk/>
            <pc:sldMk cId="3705484788" sldId="283"/>
            <ac:spMk id="21" creationId="{83A82A6D-5ED1-33A6-9490-E2F35E2024B3}"/>
          </ac:spMkLst>
        </pc:spChg>
        <pc:spChg chg="add del mod modVis">
          <ac:chgData name="Nathues, Johannes (Stud. WI - DS)" userId="9a5c84ea-3376-4b68-8a58-15ab72718d32" providerId="ADAL" clId="{6EA4B4F4-B062-449F-8515-6E2857025AA7}" dt="2025-06-25T23:47:22.677" v="2430"/>
          <ac:spMkLst>
            <pc:docMk/>
            <pc:sldMk cId="3705484788" sldId="283"/>
            <ac:spMk id="22" creationId="{9F2651DC-EF40-F80A-7E72-7FA17AAA9CBF}"/>
          </ac:spMkLst>
        </pc:spChg>
        <pc:spChg chg="add del mod modVis">
          <ac:chgData name="Nathues, Johannes (Stud. WI - DS)" userId="9a5c84ea-3376-4b68-8a58-15ab72718d32" providerId="ADAL" clId="{6EA4B4F4-B062-449F-8515-6E2857025AA7}" dt="2025-06-25T23:47:24.549" v="2459"/>
          <ac:spMkLst>
            <pc:docMk/>
            <pc:sldMk cId="3705484788" sldId="283"/>
            <ac:spMk id="23" creationId="{4B833AB2-B957-5A6D-C3C5-B9A7C2487DE0}"/>
          </ac:spMkLst>
        </pc:spChg>
        <pc:spChg chg="add del mod modVis">
          <ac:chgData name="Nathues, Johannes (Stud. WI - DS)" userId="9a5c84ea-3376-4b68-8a58-15ab72718d32" providerId="ADAL" clId="{6EA4B4F4-B062-449F-8515-6E2857025AA7}" dt="2025-06-25T23:48:19.408" v="2549"/>
          <ac:spMkLst>
            <pc:docMk/>
            <pc:sldMk cId="3705484788" sldId="283"/>
            <ac:spMk id="24" creationId="{F1A2BA41-AEC1-7605-31D1-A57A6543312C}"/>
          </ac:spMkLst>
        </pc:spChg>
        <pc:spChg chg="add del mod modVis">
          <ac:chgData name="Nathues, Johannes (Stud. WI - DS)" userId="9a5c84ea-3376-4b68-8a58-15ab72718d32" providerId="ADAL" clId="{6EA4B4F4-B062-449F-8515-6E2857025AA7}" dt="2025-06-25T23:48:20.506" v="2575"/>
          <ac:spMkLst>
            <pc:docMk/>
            <pc:sldMk cId="3705484788" sldId="283"/>
            <ac:spMk id="25" creationId="{53C45953-CC9F-631C-B8DC-833595A9F11C}"/>
          </ac:spMkLst>
        </pc:spChg>
        <pc:spChg chg="add del mod modVis">
          <ac:chgData name="Nathues, Johannes (Stud. WI - DS)" userId="9a5c84ea-3376-4b68-8a58-15ab72718d32" providerId="ADAL" clId="{6EA4B4F4-B062-449F-8515-6E2857025AA7}" dt="2025-06-25T23:48:26.370" v="2604"/>
          <ac:spMkLst>
            <pc:docMk/>
            <pc:sldMk cId="3705484788" sldId="283"/>
            <ac:spMk id="26" creationId="{6F2C3E45-CE61-C619-0521-5470BE63A6E0}"/>
          </ac:spMkLst>
        </pc:spChg>
        <pc:spChg chg="add del mod modVis">
          <ac:chgData name="Nathues, Johannes (Stud. WI - DS)" userId="9a5c84ea-3376-4b68-8a58-15ab72718d32" providerId="ADAL" clId="{6EA4B4F4-B062-449F-8515-6E2857025AA7}" dt="2025-06-25T23:48:34.547" v="2630"/>
          <ac:spMkLst>
            <pc:docMk/>
            <pc:sldMk cId="3705484788" sldId="283"/>
            <ac:spMk id="27" creationId="{0B8758CA-61C5-021E-B884-44A27FA473F0}"/>
          </ac:spMkLst>
        </pc:spChg>
        <pc:graphicFrameChg chg="add mod ord modVis">
          <ac:chgData name="Nathues, Johannes (Stud. WI - DS)" userId="9a5c84ea-3376-4b68-8a58-15ab72718d32" providerId="ADAL" clId="{6EA4B4F4-B062-449F-8515-6E2857025AA7}" dt="2025-06-25T23:48:34.551" v="2632"/>
          <ac:graphicFrameMkLst>
            <pc:docMk/>
            <pc:sldMk cId="3705484788" sldId="283"/>
            <ac:graphicFrameMk id="5" creationId="{4E0AAE6F-B9FA-02F5-8116-EF9CAF5E2908}"/>
          </ac:graphicFrameMkLst>
        </pc:graphicFrameChg>
        <pc:picChg chg="add mod">
          <ac:chgData name="Nathues, Johannes (Stud. WI - DS)" userId="9a5c84ea-3376-4b68-8a58-15ab72718d32" providerId="ADAL" clId="{6EA4B4F4-B062-449F-8515-6E2857025AA7}" dt="2025-06-25T23:48:44.919" v="2634" actId="1076"/>
          <ac:picMkLst>
            <pc:docMk/>
            <pc:sldMk cId="3705484788" sldId="283"/>
            <ac:picMk id="1026" creationId="{789E18CF-BD12-69A7-AA28-476A3F534EA6}"/>
          </ac:picMkLst>
        </pc:picChg>
      </pc:sldChg>
      <pc:sldChg chg="addSp delSp modSp add mod">
        <pc:chgData name="Nathues, Johannes (Stud. WI - DS)" userId="9a5c84ea-3376-4b68-8a58-15ab72718d32" providerId="ADAL" clId="{6EA4B4F4-B062-449F-8515-6E2857025AA7}" dt="2025-06-26T09:08:08.923" v="3349" actId="1076"/>
        <pc:sldMkLst>
          <pc:docMk/>
          <pc:sldMk cId="1413001232" sldId="284"/>
        </pc:sldMkLst>
        <pc:spChg chg="mod">
          <ac:chgData name="Nathues, Johannes (Stud. WI - DS)" userId="9a5c84ea-3376-4b68-8a58-15ab72718d32" providerId="ADAL" clId="{6EA4B4F4-B062-449F-8515-6E2857025AA7}" dt="2025-06-26T09:08:08.923" v="3349" actId="1076"/>
          <ac:spMkLst>
            <pc:docMk/>
            <pc:sldMk cId="1413001232" sldId="284"/>
            <ac:spMk id="3" creationId="{1C4C287A-7C0C-66F7-7511-BEB5D4DFC676}"/>
          </ac:spMkLst>
        </pc:spChg>
        <pc:picChg chg="del mod">
          <ac:chgData name="Nathues, Johannes (Stud. WI - DS)" userId="9a5c84ea-3376-4b68-8a58-15ab72718d32" providerId="ADAL" clId="{6EA4B4F4-B062-449F-8515-6E2857025AA7}" dt="2025-06-26T08:46:19.742" v="3289" actId="478"/>
          <ac:picMkLst>
            <pc:docMk/>
            <pc:sldMk cId="1413001232" sldId="284"/>
            <ac:picMk id="6" creationId="{70FDA507-4BAD-AD26-EA24-C13FA03218E8}"/>
          </ac:picMkLst>
        </pc:picChg>
        <pc:picChg chg="add del mod modCrop">
          <ac:chgData name="Nathues, Johannes (Stud. WI - DS)" userId="9a5c84ea-3376-4b68-8a58-15ab72718d32" providerId="ADAL" clId="{6EA4B4F4-B062-449F-8515-6E2857025AA7}" dt="2025-06-26T08:46:06.583" v="3284" actId="478"/>
          <ac:picMkLst>
            <pc:docMk/>
            <pc:sldMk cId="1413001232" sldId="284"/>
            <ac:picMk id="7" creationId="{11139B21-2136-933F-AFF7-E7565FFBEDF9}"/>
          </ac:picMkLst>
        </pc:picChg>
      </pc:sldChg>
      <pc:sldChg chg="addSp delSp modSp add mod">
        <pc:chgData name="Nathues, Johannes (Stud. WI - DS)" userId="9a5c84ea-3376-4b68-8a58-15ab72718d32" providerId="ADAL" clId="{6EA4B4F4-B062-449F-8515-6E2857025AA7}" dt="2025-06-26T09:29:24.246" v="3419" actId="114"/>
        <pc:sldMkLst>
          <pc:docMk/>
          <pc:sldMk cId="259947762" sldId="285"/>
        </pc:sldMkLst>
        <pc:spChg chg="mod">
          <ac:chgData name="Nathues, Johannes (Stud. WI - DS)" userId="9a5c84ea-3376-4b68-8a58-15ab72718d32" providerId="ADAL" clId="{6EA4B4F4-B062-449F-8515-6E2857025AA7}" dt="2025-06-26T09:29:24.246" v="3419" actId="114"/>
          <ac:spMkLst>
            <pc:docMk/>
            <pc:sldMk cId="259947762" sldId="285"/>
            <ac:spMk id="3" creationId="{F51885B2-4FCC-3BE0-1BF0-FE5B93A66DE2}"/>
          </ac:spMkLst>
        </pc:spChg>
        <pc:picChg chg="del">
          <ac:chgData name="Nathues, Johannes (Stud. WI - DS)" userId="9a5c84ea-3376-4b68-8a58-15ab72718d32" providerId="ADAL" clId="{6EA4B4F4-B062-449F-8515-6E2857025AA7}" dt="2025-06-26T09:08:27.802" v="3352" actId="478"/>
          <ac:picMkLst>
            <pc:docMk/>
            <pc:sldMk cId="259947762" sldId="285"/>
            <ac:picMk id="6" creationId="{E9ACBFCB-6FAD-6990-F495-67F04C1485EE}"/>
          </ac:picMkLst>
        </pc:picChg>
        <pc:picChg chg="mod">
          <ac:chgData name="Nathues, Johannes (Stud. WI - DS)" userId="9a5c84ea-3376-4b68-8a58-15ab72718d32" providerId="ADAL" clId="{6EA4B4F4-B062-449F-8515-6E2857025AA7}" dt="2025-06-26T09:08:39.576" v="3354" actId="1076"/>
          <ac:picMkLst>
            <pc:docMk/>
            <pc:sldMk cId="259947762" sldId="285"/>
            <ac:picMk id="7" creationId="{A9EE3AC8-08DD-8F09-0EB4-4DC779D8155F}"/>
          </ac:picMkLst>
        </pc:picChg>
        <pc:picChg chg="add mod">
          <ac:chgData name="Nathues, Johannes (Stud. WI - DS)" userId="9a5c84ea-3376-4b68-8a58-15ab72718d32" providerId="ADAL" clId="{6EA4B4F4-B062-449F-8515-6E2857025AA7}" dt="2025-06-26T09:12:05.861" v="3358" actId="1076"/>
          <ac:picMkLst>
            <pc:docMk/>
            <pc:sldMk cId="259947762" sldId="285"/>
            <ac:picMk id="8" creationId="{CEF1754C-4EBA-8AC8-91C8-CF3466E93F6F}"/>
          </ac:picMkLst>
        </pc:picChg>
      </pc:sldChg>
    </pc:docChg>
  </pc:docChgLst>
  <pc:docChgLst>
    <pc:chgData name="Konetzny, Linus (Stud. WI - DS)" userId="S::lik5421@thi.de::9adac078-f1c2-4c8d-9a1f-45aac080d7e6" providerId="AD" clId="Web-{E1E0D553-7188-239F-2F2A-4E5EB2E3F7B3}"/>
    <pc:docChg chg="modSld">
      <pc:chgData name="Konetzny, Linus (Stud. WI - DS)" userId="S::lik5421@thi.de::9adac078-f1c2-4c8d-9a1f-45aac080d7e6" providerId="AD" clId="Web-{E1E0D553-7188-239F-2F2A-4E5EB2E3F7B3}" dt="2025-06-26T08:23:17.920" v="12" actId="20577"/>
      <pc:docMkLst>
        <pc:docMk/>
      </pc:docMkLst>
      <pc:sldChg chg="modSp">
        <pc:chgData name="Konetzny, Linus (Stud. WI - DS)" userId="S::lik5421@thi.de::9adac078-f1c2-4c8d-9a1f-45aac080d7e6" providerId="AD" clId="Web-{E1E0D553-7188-239F-2F2A-4E5EB2E3F7B3}" dt="2025-06-26T08:23:17.920" v="12" actId="20577"/>
        <pc:sldMkLst>
          <pc:docMk/>
          <pc:sldMk cId="2685917160" sldId="282"/>
        </pc:sldMkLst>
        <pc:spChg chg="mod">
          <ac:chgData name="Konetzny, Linus (Stud. WI - DS)" userId="S::lik5421@thi.de::9adac078-f1c2-4c8d-9a1f-45aac080d7e6" providerId="AD" clId="Web-{E1E0D553-7188-239F-2F2A-4E5EB2E3F7B3}" dt="2025-06-26T08:23:17.920" v="12" actId="20577"/>
          <ac:spMkLst>
            <pc:docMk/>
            <pc:sldMk cId="2685917160" sldId="282"/>
            <ac:spMk id="3" creationId="{729EA771-0D1E-3F71-4367-03491F020952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A8DA834-7E79-6ED3-2FCB-11648E153D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09DBE7D-3148-E223-C8A1-3EEC5A4BCAF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D2C3A79-2AEC-9D03-60C1-A8721DBA2C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875BA-0AC2-4F6B-9F37-2DA08A1DAF3F}" type="datetimeFigureOut">
              <a:rPr lang="de-DE" smtClean="0"/>
              <a:t>26.06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0397487-D43D-CC50-D882-458DD60917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AF280A9-F324-84CB-E8A7-BFB620EA33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481197-59F8-4B49-9240-75B364EEF56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07265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A9BDA1-1A52-B7A1-BF8C-C32FF6142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9E08A6DE-813D-105A-750D-9C2837BD70E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F57BF8-30C4-79E4-734F-DE84B4C4C3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875BA-0AC2-4F6B-9F37-2DA08A1DAF3F}" type="datetimeFigureOut">
              <a:rPr lang="de-DE" smtClean="0"/>
              <a:t>26.06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96CFCC8-B937-3E0B-8E25-ECF795CAA9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4E8CC6-50DD-1A84-0606-47174BB107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481197-59F8-4B49-9240-75B364EEF56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02592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0C01F070-5D94-2C24-18DE-464611A9C6C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9495693-D667-DDA2-AB86-7520D77209A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6086095-D241-4B40-9AFE-8C64239635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875BA-0AC2-4F6B-9F37-2DA08A1DAF3F}" type="datetimeFigureOut">
              <a:rPr lang="de-DE" smtClean="0"/>
              <a:t>26.06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FB5D1E4-EE64-F4D4-84AE-81B0DE545C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24042EB-4269-895C-1B68-1AA1AEC1CB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481197-59F8-4B49-9240-75B364EEF56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162940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4C16CA-21D0-F139-3F9E-9170BA3EE3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EBEB7D2-971C-DBC1-7BF2-73F8A646B6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86322AA-92EE-2F9E-E05B-D55AD63355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875BA-0AC2-4F6B-9F37-2DA08A1DAF3F}" type="datetimeFigureOut">
              <a:rPr lang="de-DE" smtClean="0"/>
              <a:t>26.06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BCCEB7-C3B0-DAEF-138C-30F1D9D9E3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8637820-87AB-CB41-7490-97CF46C701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481197-59F8-4B49-9240-75B364EEF56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77050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6E9B0E-7D32-E729-0278-C23177657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5255EB2-48DD-5AE8-6E61-2BFDE3383E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39E0689-E1B3-97C6-AE7E-D595F535F9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875BA-0AC2-4F6B-9F37-2DA08A1DAF3F}" type="datetimeFigureOut">
              <a:rPr lang="de-DE" smtClean="0"/>
              <a:t>26.06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A7D65DE-6C2E-8B48-A7E3-5F1F81699E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AB746B5-8062-FAE6-65F4-FD2ACC2555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481197-59F8-4B49-9240-75B364EEF56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7874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A6066F-FBB3-4455-C647-6D895A16C5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B17A677-A75A-DC75-FA60-0B5EF06DC51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05AE2F1-B7F1-0909-D6A2-00AF4B953BC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B213557-38BD-44DE-26A3-8C7D116DF0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875BA-0AC2-4F6B-9F37-2DA08A1DAF3F}" type="datetimeFigureOut">
              <a:rPr lang="de-DE" smtClean="0"/>
              <a:t>26.06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0613AEB-DC53-9AEF-25AD-50472AADFB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70E00F1-FF1D-8977-F3EA-B97890D842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481197-59F8-4B49-9240-75B364EEF56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61249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C15F280-5916-FE02-5A47-597868D900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5F63668-7955-A9A5-0261-5348982797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BF315F9-E091-EDE1-BCFF-82D8EC71C47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D3C4EE1-BECE-65DB-E6D6-E82747A26C0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D7EAD306-A15D-0C97-73BA-6C2970617CB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0B8E820-0B4C-C99A-7630-9BF569F17D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875BA-0AC2-4F6B-9F37-2DA08A1DAF3F}" type="datetimeFigureOut">
              <a:rPr lang="de-DE" smtClean="0"/>
              <a:t>26.06.2025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85AD7040-F061-4CE8-D250-196794985A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0927FDD-4B26-6FB6-7DE9-323D51727B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481197-59F8-4B49-9240-75B364EEF56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21149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0AA6EB-0A92-D2CF-F38F-FEC35A52AD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8DE3983-4E40-1144-8351-A71D34C87B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875BA-0AC2-4F6B-9F37-2DA08A1DAF3F}" type="datetimeFigureOut">
              <a:rPr lang="de-DE" smtClean="0"/>
              <a:t>26.06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3F9F9A8-74C8-4A29-B90D-F69C4AD445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3A4519C-7E95-8B82-DBE6-ABAA7D50B1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481197-59F8-4B49-9240-75B364EEF56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93416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511C0A-A3EA-30B3-C6B5-EC9A457C7A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875BA-0AC2-4F6B-9F37-2DA08A1DAF3F}" type="datetimeFigureOut">
              <a:rPr lang="de-DE" smtClean="0"/>
              <a:t>26.06.2025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C11A190-3478-98D2-A3F1-A4641D9886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D07162D-2892-5082-BB0A-3C207824A6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481197-59F8-4B49-9240-75B364EEF56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798003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36DA668-F50D-49AF-C724-E6757920CC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BBB39B1-97BE-10C1-9485-78563A1B85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40E5CEF-D67A-BBFC-A21F-B7965A5C364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EAC14C4-21DF-3DEA-4194-8AB594DB34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875BA-0AC2-4F6B-9F37-2DA08A1DAF3F}" type="datetimeFigureOut">
              <a:rPr lang="de-DE" smtClean="0"/>
              <a:t>26.06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5A4D434-718C-4DB1-94F6-1AD93BF52F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7910154-2FC0-83F7-8157-DC579AD6DC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481197-59F8-4B49-9240-75B364EEF56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96859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8D32BB-8375-CD49-6D26-1E62BAFCDF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334A1476-D6E5-47CB-A92C-AEED938D65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03E497A-A393-30C5-6769-D8A9196C777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04C8840-D206-2F5E-851F-4319E485B9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875BA-0AC2-4F6B-9F37-2DA08A1DAF3F}" type="datetimeFigureOut">
              <a:rPr lang="de-DE" smtClean="0"/>
              <a:t>26.06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3AF3D31-42D0-4A78-DE28-B91CC1F2AF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6D36B4C-3A2C-C556-E493-F304AAED09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481197-59F8-4B49-9240-75B364EEF56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81339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AB747C4-B50E-DA23-00A8-72DEA7A1B1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FEA847B-7429-0D56-DB84-101C3FB0E5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05BC06E-09A4-729F-FAAF-795CB83C2C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C4875BA-0AC2-4F6B-9F37-2DA08A1DAF3F}" type="datetimeFigureOut">
              <a:rPr lang="de-DE" smtClean="0"/>
              <a:t>26.06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415342C-DA5A-35CD-86DB-97CA21E6F7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7076A68-AE54-28F8-D6A7-ECD2D8B763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1481197-59F8-4B49-9240-75B364EEF56A}" type="slidenum">
              <a:rPr lang="de-DE" smtClean="0"/>
              <a:t>‹#›</a:t>
            </a:fld>
            <a:endParaRPr lang="de-DE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F382170-8BDA-656B-8E66-461F12E03E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86747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408" imgH="408" progId="TCLayout.ActiveDocument.1">
                  <p:embed/>
                </p:oleObj>
              </mc:Choice>
              <mc:Fallback>
                <p:oleObj name="think-cell Folie" r:id="rId14" imgW="408" imgH="4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382170-8BDA-656B-8E66-461F12E03E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80834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5" Type="http://schemas.openxmlformats.org/officeDocument/2006/relationships/hyperlink" Target="https://github.com/Jnatz/Software-Dev-Security-Vortrag" TargetMode="Externa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74F8376-3F9C-EBFC-CF58-6620FC219D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7619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4F8376-3F9C-EBFC-CF58-6620FC219D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B27BF4F-B534-11CC-5B7B-34E15D5EF1D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pPr algn="l"/>
            <a:r>
              <a:rPr lang="en-US" b="1"/>
              <a:t>Software Engineering for Data Scientists</a:t>
            </a:r>
            <a:endParaRPr lang="de-DE" b="1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9AB275C-F82D-322D-59B4-35260940F2F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l"/>
            <a:r>
              <a:rPr lang="de-DE" b="1"/>
              <a:t>Chapter 13 - Security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EAA5BA3E-1704-9AFE-54C9-E90E344029DE}"/>
              </a:ext>
            </a:extLst>
          </p:cNvPr>
          <p:cNvSpPr txBox="1"/>
          <p:nvPr/>
        </p:nvSpPr>
        <p:spPr>
          <a:xfrm>
            <a:off x="1524000" y="6025896"/>
            <a:ext cx="5486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/>
              <a:t>Linus </a:t>
            </a:r>
            <a:r>
              <a:rPr lang="de-DE" b="1" err="1"/>
              <a:t>Konetzny</a:t>
            </a:r>
            <a:r>
              <a:rPr lang="de-DE" b="1"/>
              <a:t> &amp; Johannes Nathues, 26.06.25</a:t>
            </a:r>
          </a:p>
        </p:txBody>
      </p:sp>
    </p:spTree>
    <p:extLst>
      <p:ext uri="{BB962C8B-B14F-4D97-AF65-F5344CB8AC3E}">
        <p14:creationId xmlns:p14="http://schemas.microsoft.com/office/powerpoint/2010/main" val="17425056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8543E5-71D8-ED69-440B-2001D0DA51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A41611B-4A18-038B-D039-F589EBBFF6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A41611B-4A18-038B-D039-F589EBBFF6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19B65AB-E37A-23B3-0D6C-26FA907A73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b="1"/>
              <a:t>Security Practi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59748A-4772-BDBE-E19F-F7BDBA40C1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227275"/>
            <a:ext cx="10515600" cy="485190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sz="1600" b="1"/>
              <a:t>Einfaches Code Scanning mit Bandit/</a:t>
            </a:r>
            <a:r>
              <a:rPr lang="de-DE" sz="1600" b="1" err="1"/>
              <a:t>pip</a:t>
            </a:r>
            <a:r>
              <a:rPr lang="de-DE" sz="1600" b="1"/>
              <a:t>-audit</a:t>
            </a:r>
          </a:p>
          <a:p>
            <a:r>
              <a:rPr lang="en-US" sz="1600"/>
              <a:t>Bandit: open-source command line </a:t>
            </a:r>
            <a:r>
              <a:rPr lang="de-DE" sz="1600" err="1"/>
              <a:t>tool</a:t>
            </a:r>
            <a:r>
              <a:rPr lang="de-DE" sz="1600"/>
              <a:t> zur Codeanalyse für Python, das Schwachstellen im von dir geschriebenen Code erkennt</a:t>
            </a:r>
          </a:p>
          <a:p>
            <a:r>
              <a:rPr lang="en-US" sz="1600"/>
              <a:t>pip-audit: </a:t>
            </a:r>
            <a:r>
              <a:rPr lang="de-DE" sz="1600"/>
              <a:t>Scannt die Abhängigkeiten deines Projekts nach bekannten Sicherheitslücken und zeigt dir, welche Bibliotheken aktualisiert werden müssen</a:t>
            </a:r>
            <a:endParaRPr lang="en-US" sz="1600"/>
          </a:p>
          <a:p>
            <a:r>
              <a:rPr lang="de-DE" sz="1600"/>
              <a:t>Kann z.B. praktisch in </a:t>
            </a:r>
            <a:r>
              <a:rPr lang="de-DE" sz="1600" err="1"/>
              <a:t>pre-commit</a:t>
            </a:r>
            <a:r>
              <a:rPr lang="de-DE" sz="1600"/>
              <a:t> </a:t>
            </a:r>
            <a:r>
              <a:rPr lang="de-DE" sz="1600" err="1"/>
              <a:t>hooks</a:t>
            </a:r>
            <a:r>
              <a:rPr lang="de-DE" sz="1600"/>
              <a:t> genutzt werden</a:t>
            </a:r>
          </a:p>
        </p:txBody>
      </p:sp>
    </p:spTree>
    <p:extLst>
      <p:ext uri="{BB962C8B-B14F-4D97-AF65-F5344CB8AC3E}">
        <p14:creationId xmlns:p14="http://schemas.microsoft.com/office/powerpoint/2010/main" val="21251211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19BD35-FE50-5282-F9E9-84DB609E61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AEB2898-43F5-B0B3-02E8-02D00304EE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EB2898-43F5-B0B3-02E8-02D00304EE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28440C7-E6B7-0BDF-08F2-9E975BC50E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b="1"/>
              <a:t>Security Practi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C4C287A-7C0C-66F7-7511-BEB5D4DFC6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091039"/>
            <a:ext cx="10515600" cy="4475131"/>
          </a:xfrm>
        </p:spPr>
        <p:txBody>
          <a:bodyPr>
            <a:normAutofit/>
          </a:bodyPr>
          <a:lstStyle/>
          <a:p>
            <a:pPr marL="457200" lvl="1" indent="0">
              <a:buNone/>
            </a:pPr>
            <a:endParaRPr lang="de-DE" sz="1600" b="1" i="1"/>
          </a:p>
          <a:p>
            <a:pPr marL="342900" indent="-342900">
              <a:buAutoNum type="arabicPeriod"/>
            </a:pPr>
            <a:r>
              <a:rPr lang="de-DE" sz="1600" b="1"/>
              <a:t>Öffne ein Projekt deiner Wahl, das externe Bibliotheken verwendet </a:t>
            </a:r>
          </a:p>
          <a:p>
            <a:pPr marL="457200" lvl="1" indent="0">
              <a:buNone/>
            </a:pPr>
            <a:r>
              <a:rPr lang="de-DE" sz="1600">
                <a:hlinkClick r:id="rId5"/>
              </a:rPr>
              <a:t>https://github.com/Jnatz/Software-Dev-Security-Vortrag</a:t>
            </a:r>
            <a:endParaRPr lang="de-DE" sz="1600"/>
          </a:p>
          <a:p>
            <a:pPr marL="457200" lvl="1" indent="0">
              <a:buNone/>
            </a:pPr>
            <a:r>
              <a:rPr lang="de-DE" sz="1600"/>
              <a:t>oder eigenes Projekt</a:t>
            </a:r>
          </a:p>
          <a:p>
            <a:pPr marL="457200" lvl="1" indent="0">
              <a:buNone/>
            </a:pPr>
            <a:endParaRPr lang="de-DE" sz="1600"/>
          </a:p>
          <a:p>
            <a:pPr marL="342900" indent="-342900">
              <a:buAutoNum type="arabicPeriod"/>
            </a:pPr>
            <a:r>
              <a:rPr lang="de-DE" sz="1600" b="1"/>
              <a:t>Installiere Bandit und </a:t>
            </a:r>
            <a:r>
              <a:rPr lang="de-DE" sz="1600" b="1" err="1"/>
              <a:t>pip</a:t>
            </a:r>
            <a:r>
              <a:rPr lang="de-DE" sz="1600" b="1"/>
              <a:t>-audit</a:t>
            </a:r>
            <a:endParaRPr lang="en-US" sz="1200" b="1"/>
          </a:p>
          <a:p>
            <a:pPr marL="457200" lvl="1" indent="0">
              <a:buNone/>
            </a:pPr>
            <a:r>
              <a:rPr lang="en-US" sz="1600" i="1"/>
              <a:t>pip install bandit</a:t>
            </a:r>
          </a:p>
          <a:p>
            <a:pPr marL="457200" lvl="1" indent="0">
              <a:buNone/>
            </a:pPr>
            <a:r>
              <a:rPr lang="en-US" sz="1600" i="1"/>
              <a:t>pip install pip-audit</a:t>
            </a:r>
          </a:p>
          <a:p>
            <a:pPr marL="457200" lvl="1" indent="0">
              <a:buNone/>
            </a:pPr>
            <a:endParaRPr lang="de-DE" sz="1600"/>
          </a:p>
          <a:p>
            <a:pPr marL="457200" lvl="1" indent="0">
              <a:buNone/>
            </a:pPr>
            <a:endParaRPr lang="de-DE" sz="1200" b="1"/>
          </a:p>
          <a:p>
            <a:pPr marL="457200" lvl="1" indent="0">
              <a:buNone/>
            </a:pPr>
            <a:endParaRPr lang="de-DE" sz="1200" b="1"/>
          </a:p>
        </p:txBody>
      </p:sp>
    </p:spTree>
    <p:extLst>
      <p:ext uri="{BB962C8B-B14F-4D97-AF65-F5344CB8AC3E}">
        <p14:creationId xmlns:p14="http://schemas.microsoft.com/office/powerpoint/2010/main" val="14130012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9D6677-BC59-2329-DF43-67B33CB66C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DAFD317-0643-1FEF-6812-D085703C4F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DAFD317-0643-1FEF-6812-D085703C4F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8E8CF04-89F2-0CFE-7D60-C29A3BD555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b="1"/>
              <a:t>Security Practi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51885B2-4FCC-3BE0-1BF0-FE5B93A66D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143675"/>
            <a:ext cx="10515600" cy="485190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sz="1600" b="1"/>
              <a:t>3.    Erstelle eine Datei </a:t>
            </a:r>
            <a:r>
              <a:rPr lang="de-DE" sz="1600" b="1" i="1"/>
              <a:t>requirements.txt</a:t>
            </a:r>
            <a:r>
              <a:rPr lang="de-DE" sz="1600" b="1"/>
              <a:t> mit den nötigen Bibliotheken</a:t>
            </a:r>
          </a:p>
          <a:p>
            <a:pPr marL="342900" indent="-342900">
              <a:buAutoNum type="arabicPeriod"/>
            </a:pPr>
            <a:endParaRPr lang="de-DE" sz="1600" b="1"/>
          </a:p>
          <a:p>
            <a:pPr marL="342900" indent="-342900">
              <a:buAutoNum type="arabicPeriod"/>
            </a:pPr>
            <a:endParaRPr lang="de-DE" sz="1600" b="1"/>
          </a:p>
          <a:p>
            <a:pPr marL="342900" indent="-342900">
              <a:buAutoNum type="arabicPeriod"/>
            </a:pPr>
            <a:endParaRPr lang="de-DE" sz="1600" b="1"/>
          </a:p>
          <a:p>
            <a:pPr marL="0" indent="0">
              <a:buNone/>
            </a:pPr>
            <a:r>
              <a:rPr lang="de-DE" sz="1600" b="1"/>
              <a:t>4.    Führe nacheinander </a:t>
            </a:r>
            <a:r>
              <a:rPr lang="de-DE" sz="1600" b="1" err="1"/>
              <a:t>bandit</a:t>
            </a:r>
            <a:r>
              <a:rPr lang="de-DE" sz="1600" b="1"/>
              <a:t> und </a:t>
            </a:r>
            <a:r>
              <a:rPr lang="de-DE" sz="1600" b="1" err="1"/>
              <a:t>pip</a:t>
            </a:r>
            <a:r>
              <a:rPr lang="de-DE" sz="1600" b="1"/>
              <a:t>-audit aus, und vergleiche den Output</a:t>
            </a:r>
          </a:p>
          <a:p>
            <a:pPr marL="457200" lvl="1" indent="0">
              <a:buNone/>
            </a:pPr>
            <a:r>
              <a:rPr lang="de-DE" sz="1600" i="1" err="1"/>
              <a:t>bandit</a:t>
            </a:r>
            <a:r>
              <a:rPr lang="de-DE" sz="1600" i="1"/>
              <a:t> –r .</a:t>
            </a:r>
          </a:p>
          <a:p>
            <a:pPr marL="457200" lvl="1" indent="0">
              <a:buNone/>
            </a:pPr>
            <a:r>
              <a:rPr lang="de-DE" sz="1600" i="1" err="1"/>
              <a:t>pip</a:t>
            </a:r>
            <a:r>
              <a:rPr lang="de-DE" sz="1600" i="1"/>
              <a:t>-audit –</a:t>
            </a:r>
            <a:r>
              <a:rPr lang="de-DE" sz="1600" i="1" err="1"/>
              <a:t>requirement</a:t>
            </a:r>
            <a:r>
              <a:rPr lang="de-DE" sz="1600" i="1"/>
              <a:t> requirements.txt</a:t>
            </a:r>
          </a:p>
          <a:p>
            <a:pPr marL="457200" lvl="1" indent="0">
              <a:buNone/>
            </a:pPr>
            <a:endParaRPr lang="de-DE" sz="1600" i="1"/>
          </a:p>
          <a:p>
            <a:pPr marL="457200" lvl="1" indent="0">
              <a:buNone/>
            </a:pPr>
            <a:endParaRPr lang="de-DE" sz="1600" i="1"/>
          </a:p>
          <a:p>
            <a:pPr marL="457200" lvl="1" indent="0">
              <a:buNone/>
            </a:pPr>
            <a:endParaRPr lang="de-DE" sz="1600" i="1"/>
          </a:p>
          <a:p>
            <a:pPr marL="457200" lvl="1" indent="0">
              <a:buNone/>
            </a:pPr>
            <a:endParaRPr lang="de-DE" sz="1600" i="1"/>
          </a:p>
          <a:p>
            <a:pPr marL="457200" lvl="1" indent="0">
              <a:buNone/>
            </a:pPr>
            <a:endParaRPr lang="de-DE" sz="1600" i="1"/>
          </a:p>
          <a:p>
            <a:pPr marL="457200" lvl="1" indent="0">
              <a:buNone/>
            </a:pPr>
            <a:r>
              <a:rPr lang="de-DE" sz="1600"/>
              <a:t>Welche Warnungen gibt es/ sind relevant?</a:t>
            </a:r>
          </a:p>
          <a:p>
            <a:pPr marL="457200" lvl="1" indent="0">
              <a:buNone/>
            </a:pPr>
            <a:endParaRPr lang="de-DE" sz="1200" b="1"/>
          </a:p>
          <a:p>
            <a:pPr marL="457200" lvl="1" indent="0">
              <a:buNone/>
            </a:pPr>
            <a:endParaRPr lang="de-DE" sz="1200" b="1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9EE3AC8-08DD-8F09-0EB4-4DC779D8155F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b="21651"/>
          <a:stretch>
            <a:fillRect/>
          </a:stretch>
        </p:blipFill>
        <p:spPr>
          <a:xfrm>
            <a:off x="1249599" y="2441338"/>
            <a:ext cx="3254308" cy="987662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CEF1754C-4EBA-8AC8-91C8-CF3466E93F6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49599" y="4570891"/>
            <a:ext cx="4643236" cy="1094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9477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4BB3E1-4CA7-D5DB-D1B4-03BDB0D710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BE78E94-AAA0-ED43-55CE-28D8C3E316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BE78E94-AAA0-ED43-55CE-28D8C3E316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feld 4">
            <a:extLst>
              <a:ext uri="{FF2B5EF4-FFF2-40B4-BE49-F238E27FC236}">
                <a16:creationId xmlns:a16="http://schemas.microsoft.com/office/drawing/2014/main" id="{BDE5E32F-EB33-7B85-936D-CCC7255D4CDE}"/>
              </a:ext>
            </a:extLst>
          </p:cNvPr>
          <p:cNvSpPr txBox="1"/>
          <p:nvPr/>
        </p:nvSpPr>
        <p:spPr>
          <a:xfrm>
            <a:off x="929438" y="2921168"/>
            <a:ext cx="10813383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6000" b="1"/>
              <a:t>Security </a:t>
            </a:r>
            <a:r>
              <a:rPr lang="de-DE" sz="6000" b="1" err="1"/>
              <a:t>for</a:t>
            </a:r>
            <a:r>
              <a:rPr lang="de-DE" sz="6000" b="1"/>
              <a:t> </a:t>
            </a:r>
            <a:r>
              <a:rPr lang="de-DE" sz="6000" b="1" err="1"/>
              <a:t>Machine</a:t>
            </a:r>
            <a:r>
              <a:rPr lang="de-DE" sz="6000" b="1"/>
              <a:t> Learning</a:t>
            </a:r>
            <a:endParaRPr lang="de-DE" sz="6000"/>
          </a:p>
        </p:txBody>
      </p:sp>
    </p:spTree>
    <p:extLst>
      <p:ext uri="{BB962C8B-B14F-4D97-AF65-F5344CB8AC3E}">
        <p14:creationId xmlns:p14="http://schemas.microsoft.com/office/powerpoint/2010/main" val="23329261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AB7E046-0874-96FA-DF34-0F0CF9112E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6783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B7E046-0874-96FA-DF34-0F0CF9112E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D87B858-2A50-E3DB-6645-CEC731CE39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b="1"/>
              <a:t>Security </a:t>
            </a:r>
            <a:r>
              <a:rPr lang="de-DE" b="1" err="1"/>
              <a:t>for</a:t>
            </a:r>
            <a:r>
              <a:rPr lang="de-DE" b="1"/>
              <a:t> </a:t>
            </a:r>
            <a:r>
              <a:rPr lang="de-DE" b="1" err="1"/>
              <a:t>Machine</a:t>
            </a:r>
            <a:r>
              <a:rPr lang="de-DE" b="1"/>
              <a:t> Lear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00C5ED4-75DD-A825-4E1F-4F7B4D96D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91477"/>
            <a:ext cx="8329863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sz="1600" b="1"/>
              <a:t>Angriffe auf ML-Modelle:</a:t>
            </a:r>
          </a:p>
          <a:p>
            <a:pPr marL="0" indent="0">
              <a:buNone/>
            </a:pPr>
            <a:r>
              <a:rPr lang="de-DE" sz="1600" i="1"/>
              <a:t>Input Manipulation</a:t>
            </a:r>
          </a:p>
          <a:p>
            <a:r>
              <a:rPr lang="de-DE" sz="1600"/>
              <a:t>gezielte Änderungen am Input führen zu falscher Klassifikation (z. B. </a:t>
            </a:r>
            <a:r>
              <a:rPr lang="de-DE" sz="1600" err="1"/>
              <a:t>Banana</a:t>
            </a:r>
            <a:r>
              <a:rPr lang="de-DE" sz="1600"/>
              <a:t> → Toaster)</a:t>
            </a:r>
          </a:p>
          <a:p>
            <a:pPr marL="0" indent="0">
              <a:buNone/>
            </a:pPr>
            <a:r>
              <a:rPr lang="de-DE" sz="1600" i="1"/>
              <a:t>Training Data </a:t>
            </a:r>
            <a:r>
              <a:rPr lang="de-DE" sz="1600" i="1" err="1"/>
              <a:t>Extraction</a:t>
            </a:r>
            <a:r>
              <a:rPr lang="de-DE" sz="1600" i="1"/>
              <a:t> </a:t>
            </a:r>
          </a:p>
          <a:p>
            <a:r>
              <a:rPr lang="de-DE" sz="1600"/>
              <a:t>Modell gibt sensible Trainingsdaten preis (z. B. durch spezielle Prompt-Wiederholungen)</a:t>
            </a:r>
          </a:p>
          <a:p>
            <a:pPr marL="0" indent="0">
              <a:buNone/>
            </a:pPr>
            <a:r>
              <a:rPr lang="de-DE" sz="1600" i="1"/>
              <a:t>Model Theft </a:t>
            </a:r>
          </a:p>
          <a:p>
            <a:r>
              <a:rPr lang="de-DE" sz="1600"/>
              <a:t>durch viele Anfragen wird das Modell rekonstruiert</a:t>
            </a:r>
          </a:p>
          <a:p>
            <a:pPr marL="0" indent="0">
              <a:buNone/>
            </a:pPr>
            <a:r>
              <a:rPr lang="de-DE" sz="1600" i="1"/>
              <a:t>Data Poisoning </a:t>
            </a:r>
          </a:p>
          <a:p>
            <a:r>
              <a:rPr lang="de-DE" sz="1600"/>
              <a:t>manipulierte Trainingsdaten führen zu späteren Fehlverhalten (z. B. Backdoors)</a:t>
            </a:r>
          </a:p>
          <a:p>
            <a:pPr marL="0" indent="0">
              <a:buNone/>
            </a:pPr>
            <a:r>
              <a:rPr lang="de-DE" sz="1600" i="1"/>
              <a:t>Transfer Learning Attacken </a:t>
            </a:r>
          </a:p>
          <a:p>
            <a:r>
              <a:rPr lang="de-DE" sz="1600"/>
              <a:t>manipulierte vortrainierte Modelle oder Libraries kompromittieren das finale Modell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3298624B-0A22-6AF4-6CA1-B49907BF8BA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71986" y="3799023"/>
            <a:ext cx="3439277" cy="2125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9542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4DE749-275E-FD94-CD92-EBC334C0D3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8FF04DE-1E14-6CB0-E97E-5B4B25F872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FF04DE-1E14-6CB0-E97E-5B4B25F872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419FA61-367F-64A4-645E-B1372EA22D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b="1"/>
              <a:t>Security </a:t>
            </a:r>
            <a:r>
              <a:rPr lang="de-DE" b="1" err="1"/>
              <a:t>for</a:t>
            </a:r>
            <a:r>
              <a:rPr lang="de-DE" b="1"/>
              <a:t> </a:t>
            </a:r>
            <a:r>
              <a:rPr lang="de-DE" b="1" err="1"/>
              <a:t>Machine</a:t>
            </a:r>
            <a:r>
              <a:rPr lang="de-DE" b="1"/>
              <a:t> Lear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AD8839A-297D-21DF-15E5-FB740AEA6D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85124"/>
            <a:ext cx="8329863" cy="575117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sz="1600" b="1"/>
              <a:t>Sicherheitspraktiken:</a:t>
            </a:r>
          </a:p>
          <a:p>
            <a:pPr marL="0" indent="0">
              <a:buNone/>
            </a:pPr>
            <a:r>
              <a:rPr lang="de-DE" sz="1600" i="1"/>
              <a:t>Datenvalidierung</a:t>
            </a:r>
            <a:r>
              <a:rPr lang="de-DE" sz="1600"/>
              <a:t> </a:t>
            </a:r>
          </a:p>
          <a:p>
            <a:r>
              <a:rPr lang="de-DE" sz="1600"/>
              <a:t>Format &amp; statistische Plausibilität vor Trainingsstart prüfen</a:t>
            </a:r>
          </a:p>
          <a:p>
            <a:pPr marL="0" indent="0">
              <a:buNone/>
            </a:pPr>
            <a:r>
              <a:rPr lang="de-DE" sz="1600" i="1" err="1"/>
              <a:t>Adversarial</a:t>
            </a:r>
            <a:r>
              <a:rPr lang="de-DE" sz="1600" i="1"/>
              <a:t> </a:t>
            </a:r>
            <a:r>
              <a:rPr lang="de-DE" sz="1600" i="1" err="1"/>
              <a:t>Testing</a:t>
            </a:r>
            <a:endParaRPr lang="de-DE" sz="1600" i="1"/>
          </a:p>
          <a:p>
            <a:r>
              <a:rPr lang="de-DE" sz="1600"/>
              <a:t>gezielte Störinputs im </a:t>
            </a:r>
            <a:r>
              <a:rPr lang="de-DE" sz="1600" err="1"/>
              <a:t>Testset</a:t>
            </a:r>
            <a:r>
              <a:rPr lang="de-DE" sz="1600"/>
              <a:t> einsetzen</a:t>
            </a:r>
          </a:p>
          <a:p>
            <a:pPr marL="0" indent="0">
              <a:buNone/>
            </a:pPr>
            <a:r>
              <a:rPr lang="de-DE" sz="1600" i="1"/>
              <a:t>Model Monitoring</a:t>
            </a:r>
          </a:p>
          <a:p>
            <a:r>
              <a:rPr lang="de-DE" sz="1600"/>
              <a:t>Auffälligkeiten im Input oder Output automatisch erkennen</a:t>
            </a:r>
          </a:p>
          <a:p>
            <a:pPr marL="0" indent="0">
              <a:buNone/>
            </a:pPr>
            <a:r>
              <a:rPr lang="de-DE" sz="1600" i="1"/>
              <a:t>API-Schutz</a:t>
            </a:r>
          </a:p>
          <a:p>
            <a:r>
              <a:rPr lang="de-DE" sz="1600"/>
              <a:t>Authentifizierung &amp; Rate Limits für Modellzugriffe</a:t>
            </a:r>
          </a:p>
          <a:p>
            <a:pPr marL="0" indent="0">
              <a:buNone/>
            </a:pPr>
            <a:r>
              <a:rPr lang="de-DE" sz="1600" i="1"/>
              <a:t>Automatisiertes </a:t>
            </a:r>
            <a:r>
              <a:rPr lang="de-DE" sz="1600" i="1" err="1"/>
              <a:t>Retraining</a:t>
            </a:r>
            <a:r>
              <a:rPr lang="de-DE" sz="1600" i="1"/>
              <a:t> &amp; </a:t>
            </a:r>
            <a:r>
              <a:rPr lang="de-DE" sz="1600" i="1" err="1"/>
              <a:t>Deployment</a:t>
            </a:r>
            <a:endParaRPr lang="de-DE" sz="1600" i="1"/>
          </a:p>
          <a:p>
            <a:r>
              <a:rPr lang="de-DE" sz="1600"/>
              <a:t>erlaubt schnelle Reaktion auf neue Bedrohungen</a:t>
            </a:r>
          </a:p>
          <a:p>
            <a:pPr marL="0" indent="0">
              <a:buNone/>
            </a:pPr>
            <a:r>
              <a:rPr lang="de-DE" sz="1600" i="1"/>
              <a:t>Bleibe aktuell</a:t>
            </a:r>
          </a:p>
          <a:p>
            <a:r>
              <a:rPr lang="de-DE" sz="1600"/>
              <a:t>z. B. über NIST AI KB, LLM Security, AI Village</a:t>
            </a:r>
          </a:p>
        </p:txBody>
      </p:sp>
    </p:spTree>
    <p:extLst>
      <p:ext uri="{BB962C8B-B14F-4D97-AF65-F5344CB8AC3E}">
        <p14:creationId xmlns:p14="http://schemas.microsoft.com/office/powerpoint/2010/main" val="27895076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9AB366-9143-95D7-817A-B6D750719C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86A37AF-EA1D-5387-A8E1-A11C5518A0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6A37AF-EA1D-5387-A8E1-A11C5518A0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66386CA-1BA8-0FA8-0BEF-9D379E70CF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b="1"/>
              <a:t>Security </a:t>
            </a:r>
            <a:r>
              <a:rPr lang="de-DE" b="1" err="1"/>
              <a:t>for</a:t>
            </a:r>
            <a:r>
              <a:rPr lang="de-DE" b="1"/>
              <a:t> </a:t>
            </a:r>
            <a:r>
              <a:rPr lang="de-DE" b="1" err="1"/>
              <a:t>Machine</a:t>
            </a:r>
            <a:r>
              <a:rPr lang="de-DE" b="1"/>
              <a:t> Lear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29EA771-0D1E-3F71-4367-03491F0209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85124"/>
            <a:ext cx="8329863" cy="5751179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de-DE" sz="1600" b="1"/>
              <a:t>Zusammengefasst:</a:t>
            </a:r>
          </a:p>
          <a:p>
            <a:r>
              <a:rPr lang="de-DE" sz="1600"/>
              <a:t>ML-Sicherheit beginnt bereits bei der Datenbeschaffung</a:t>
            </a:r>
          </a:p>
          <a:p>
            <a:r>
              <a:rPr lang="de-DE" sz="1600"/>
              <a:t>Nutze nur vertrauenswürdige Quellen für </a:t>
            </a:r>
            <a:r>
              <a:rPr lang="de-DE" sz="1600" err="1"/>
              <a:t>Pretrained</a:t>
            </a:r>
            <a:r>
              <a:rPr lang="de-DE" sz="1600"/>
              <a:t>-Modelle</a:t>
            </a:r>
          </a:p>
          <a:p>
            <a:r>
              <a:rPr lang="de-DE" sz="1600"/>
              <a:t>Dokumentiere alle Sicherheitsschritte im Entwicklungsprozess</a:t>
            </a:r>
          </a:p>
          <a:p>
            <a:r>
              <a:rPr lang="de-DE" sz="1600"/>
              <a:t>Führe regelmäßig Sicherheitsreviews auch für ML-Komponenten durch</a:t>
            </a:r>
          </a:p>
          <a:p>
            <a:pPr marL="0" indent="0">
              <a:buNone/>
            </a:pPr>
            <a:endParaRPr lang="de-DE" sz="1600"/>
          </a:p>
          <a:p>
            <a:pPr marL="0" indent="0">
              <a:buNone/>
            </a:pPr>
            <a:endParaRPr lang="de-DE" sz="1600"/>
          </a:p>
        </p:txBody>
      </p:sp>
    </p:spTree>
    <p:extLst>
      <p:ext uri="{BB962C8B-B14F-4D97-AF65-F5344CB8AC3E}">
        <p14:creationId xmlns:p14="http://schemas.microsoft.com/office/powerpoint/2010/main" val="268591716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E0AAE6F-B9FA-02F5-8116-EF9CAF5E29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0726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0AAE6F-B9FA-02F5-8116-EF9CAF5E29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C1C35A3-CB4F-B5AB-2296-94558DE268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601501"/>
            <a:ext cx="10515600" cy="3063875"/>
          </a:xfrm>
        </p:spPr>
        <p:txBody>
          <a:bodyPr vert="horz">
            <a:normAutofit/>
          </a:bodyPr>
          <a:lstStyle/>
          <a:p>
            <a:pPr algn="ctr"/>
            <a:r>
              <a:rPr lang="de-DE" sz="8000" b="1"/>
              <a:t>Danke fürs Zuhör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4016A90-6040-53C2-0661-FD00120A6E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5448" y="4949952"/>
            <a:ext cx="6477000" cy="2096007"/>
          </a:xfrm>
        </p:spPr>
        <p:txBody>
          <a:bodyPr>
            <a:normAutofit/>
          </a:bodyPr>
          <a:lstStyle/>
          <a:p>
            <a:r>
              <a:rPr lang="de-DE" sz="1600"/>
              <a:t>PS: falls ihr noch Lust auf weitere Übungen habt:</a:t>
            </a:r>
          </a:p>
        </p:txBody>
      </p:sp>
      <p:pic>
        <p:nvPicPr>
          <p:cNvPr id="1026" name="Picture 2" descr="Russisches Roulette : r/ProgrammerHumor">
            <a:extLst>
              <a:ext uri="{FF2B5EF4-FFF2-40B4-BE49-F238E27FC236}">
                <a16:creationId xmlns:a16="http://schemas.microsoft.com/office/drawing/2014/main" id="{789E18CF-BD12-69A7-AA28-476A3F534E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9348" y="5234527"/>
            <a:ext cx="3550920" cy="15268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054847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01014B4-70AE-7C5F-2279-1DD202C387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0060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1014B4-70AE-7C5F-2279-1DD202C387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feld 4">
            <a:extLst>
              <a:ext uri="{FF2B5EF4-FFF2-40B4-BE49-F238E27FC236}">
                <a16:creationId xmlns:a16="http://schemas.microsoft.com/office/drawing/2014/main" id="{F9132D96-CDDF-BEEB-CC49-8EA2E9F44464}"/>
              </a:ext>
            </a:extLst>
          </p:cNvPr>
          <p:cNvSpPr txBox="1"/>
          <p:nvPr/>
        </p:nvSpPr>
        <p:spPr>
          <a:xfrm>
            <a:off x="929438" y="2921168"/>
            <a:ext cx="7685171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6000" b="1" err="1"/>
              <a:t>What</a:t>
            </a:r>
            <a:r>
              <a:rPr lang="de-DE" sz="6000" b="1"/>
              <a:t> </a:t>
            </a:r>
            <a:r>
              <a:rPr lang="de-DE" sz="6000" b="1" err="1"/>
              <a:t>is</a:t>
            </a:r>
            <a:r>
              <a:rPr lang="de-DE" sz="6000" b="1"/>
              <a:t> Security?</a:t>
            </a:r>
            <a:endParaRPr lang="de-DE" sz="6000"/>
          </a:p>
        </p:txBody>
      </p:sp>
    </p:spTree>
    <p:extLst>
      <p:ext uri="{BB962C8B-B14F-4D97-AF65-F5344CB8AC3E}">
        <p14:creationId xmlns:p14="http://schemas.microsoft.com/office/powerpoint/2010/main" val="32664556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4B49CD0-A965-A717-9255-8DE7A73526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7478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B49CD0-A965-A717-9255-8DE7A73526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3E5BB49-2FC8-18DF-635B-CB848126EA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b="1" err="1"/>
              <a:t>What</a:t>
            </a:r>
            <a:r>
              <a:rPr lang="de-DE" b="1"/>
              <a:t> </a:t>
            </a:r>
            <a:r>
              <a:rPr lang="de-DE" b="1" err="1"/>
              <a:t>is</a:t>
            </a:r>
            <a:r>
              <a:rPr lang="de-DE" b="1"/>
              <a:t> Security?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7C5FA06-FD77-5FE2-528E-BC3FC57B88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55000" lnSpcReduction="20000"/>
          </a:bodyPr>
          <a:lstStyle/>
          <a:p>
            <a:pPr>
              <a:buNone/>
            </a:pPr>
            <a:r>
              <a:rPr lang="de-DE" sz="2900" b="1"/>
              <a:t>Software-Sicherheit</a:t>
            </a:r>
            <a:endParaRPr lang="de-DE" sz="2900"/>
          </a:p>
          <a:p>
            <a:pPr>
              <a:buFont typeface="Arial" panose="020B0604020202020204" pitchFamily="34" charset="0"/>
              <a:buChar char="•"/>
            </a:pPr>
            <a:r>
              <a:rPr lang="de-DE" sz="2900"/>
              <a:t>Ziel: Schutz vor unbefugtem Zugriff, Datenverlust, Manipulation oder Ausfall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2900"/>
              <a:t>Große Risiken im Umgang mit sensiblen Daten (Skandale)</a:t>
            </a:r>
          </a:p>
          <a:p>
            <a:pPr>
              <a:buNone/>
            </a:pPr>
            <a:r>
              <a:rPr lang="de-DE" sz="2900" b="1"/>
              <a:t>Sicherheitsstandards</a:t>
            </a:r>
            <a:endParaRPr lang="de-DE" sz="2900"/>
          </a:p>
          <a:p>
            <a:pPr>
              <a:buFont typeface="Arial" panose="020B0604020202020204" pitchFamily="34" charset="0"/>
              <a:buChar char="•"/>
            </a:pPr>
            <a:r>
              <a:rPr lang="de-DE" sz="2900"/>
              <a:t>Orientierung an Standards wie ISO 27001 oder NIS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2900"/>
              <a:t>Dienen der Einhaltung externer Anforderungen oder Kundenversprechen</a:t>
            </a:r>
          </a:p>
          <a:p>
            <a:pPr>
              <a:buNone/>
            </a:pPr>
            <a:r>
              <a:rPr lang="de-DE" sz="2900" b="1"/>
              <a:t>Abgrenzung: Datenschutz</a:t>
            </a:r>
            <a:endParaRPr lang="de-DE" sz="2900"/>
          </a:p>
          <a:p>
            <a:pPr>
              <a:buFont typeface="Arial" panose="020B0604020202020204" pitchFamily="34" charset="0"/>
              <a:buChar char="•"/>
            </a:pPr>
            <a:r>
              <a:rPr lang="de-DE" sz="2900"/>
              <a:t>Datenschutz = Kontrolle über persönliche Daten und deren Nutzu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2900"/>
              <a:t>Sicherheitsverletzungen können Datenschutzverletzungen auslöse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2900"/>
              <a:t>Relevante Regelwerke: DSGVO, CCPA</a:t>
            </a:r>
          </a:p>
          <a:p>
            <a:pPr>
              <a:buNone/>
            </a:pPr>
            <a:r>
              <a:rPr lang="de-DE" sz="2900" b="1"/>
              <a:t>Security-Triad (C-I-A)</a:t>
            </a:r>
            <a:endParaRPr lang="de-DE" sz="2900"/>
          </a:p>
          <a:p>
            <a:pPr>
              <a:buFont typeface="Arial" panose="020B0604020202020204" pitchFamily="34" charset="0"/>
              <a:buChar char="•"/>
            </a:pPr>
            <a:r>
              <a:rPr lang="de-DE" sz="2900"/>
              <a:t>Vertraulichkeit: Zugriff nur für Berechtigt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2900"/>
              <a:t>Integrität: Schutz vor unautorisierten Änderunge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2900"/>
              <a:t>Verfügbarkeit: System funktioniert wie vorgesehen</a:t>
            </a:r>
          </a:p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32018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C9FFDD-FA34-C83A-5652-79B16E3234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1F13AF7-85B1-D85D-D1D2-1905524ED7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F13AF7-85B1-D85D-D1D2-1905524ED7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feld 4">
            <a:extLst>
              <a:ext uri="{FF2B5EF4-FFF2-40B4-BE49-F238E27FC236}">
                <a16:creationId xmlns:a16="http://schemas.microsoft.com/office/drawing/2014/main" id="{40F7BEBD-2B7E-8404-7945-B71AEC5E4711}"/>
              </a:ext>
            </a:extLst>
          </p:cNvPr>
          <p:cNvSpPr txBox="1"/>
          <p:nvPr/>
        </p:nvSpPr>
        <p:spPr>
          <a:xfrm>
            <a:off x="929438" y="2921168"/>
            <a:ext cx="7685171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6000" b="1"/>
              <a:t>Security </a:t>
            </a:r>
            <a:r>
              <a:rPr lang="de-DE" sz="6000" b="1" err="1"/>
              <a:t>Risks</a:t>
            </a:r>
            <a:endParaRPr lang="de-DE" sz="6000"/>
          </a:p>
        </p:txBody>
      </p:sp>
    </p:spTree>
    <p:extLst>
      <p:ext uri="{BB962C8B-B14F-4D97-AF65-F5344CB8AC3E}">
        <p14:creationId xmlns:p14="http://schemas.microsoft.com/office/powerpoint/2010/main" val="30600108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AACF7A-DFC7-A6F7-EF86-CAF6A6C461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9CF9206-7DC8-2635-7BFB-4E6F29FD8A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CF9206-7DC8-2635-7BFB-4E6F29FD8A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856D2F4-D2B8-FE63-0FB8-567F2A00E5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b="1"/>
              <a:t>Security </a:t>
            </a:r>
            <a:r>
              <a:rPr lang="de-DE" b="1" err="1"/>
              <a:t>Risks</a:t>
            </a:r>
            <a:endParaRPr lang="de-DE" b="1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A464E7E-1EA1-E6E8-1F9C-6BA9F8CF67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039603"/>
            <a:ext cx="10515600" cy="3576554"/>
          </a:xfrm>
        </p:spPr>
        <p:txBody>
          <a:bodyPr/>
          <a:lstStyle/>
          <a:p>
            <a:pPr marL="0" indent="0">
              <a:buNone/>
            </a:pPr>
            <a:r>
              <a:rPr lang="de-DE" sz="1600" b="1"/>
              <a:t>Zugangsdaten &amp; </a:t>
            </a:r>
            <a:r>
              <a:rPr lang="de-DE" sz="1600" b="1" err="1"/>
              <a:t>Social</a:t>
            </a:r>
            <a:r>
              <a:rPr lang="de-DE" sz="1600" b="1"/>
              <a:t> Engineering</a:t>
            </a:r>
          </a:p>
          <a:p>
            <a:pPr>
              <a:lnSpc>
                <a:spcPct val="70000"/>
              </a:lnSpc>
            </a:pPr>
            <a:r>
              <a:rPr lang="de-DE" sz="1600"/>
              <a:t>Häufige Ursache für Sicherheitsvorfälle: gestohlene Zugangsdaten</a:t>
            </a:r>
          </a:p>
          <a:p>
            <a:pPr>
              <a:lnSpc>
                <a:spcPct val="70000"/>
              </a:lnSpc>
            </a:pPr>
            <a:r>
              <a:rPr lang="de-DE" sz="1600"/>
              <a:t>Ursachen: Phishing, unsichere Hardware, </a:t>
            </a:r>
            <a:r>
              <a:rPr lang="de-DE" sz="1600" err="1"/>
              <a:t>Social</a:t>
            </a:r>
            <a:r>
              <a:rPr lang="de-DE" sz="1600"/>
              <a:t> Engineering</a:t>
            </a:r>
          </a:p>
          <a:p>
            <a:pPr>
              <a:lnSpc>
                <a:spcPct val="70000"/>
              </a:lnSpc>
            </a:pPr>
            <a:r>
              <a:rPr lang="de-DE" sz="1600"/>
              <a:t>Auch scheinbar harmlose Software kann zum Risiko werden (z. B. Keylogger)</a:t>
            </a:r>
          </a:p>
          <a:p>
            <a:pPr marL="0" indent="0">
              <a:lnSpc>
                <a:spcPct val="70000"/>
              </a:lnSpc>
              <a:buNone/>
            </a:pPr>
            <a:endParaRPr lang="de-DE" sz="1600"/>
          </a:p>
          <a:p>
            <a:pPr marL="0" indent="0">
              <a:buNone/>
            </a:pPr>
            <a:r>
              <a:rPr lang="de-DE" sz="1600" b="1"/>
              <a:t>Third-Party-Packages</a:t>
            </a:r>
            <a:endParaRPr lang="de-DE" sz="1600"/>
          </a:p>
          <a:p>
            <a:r>
              <a:rPr lang="de-DE" sz="1600"/>
              <a:t>Dependencies können bekannte Schwachstellen enthalten</a:t>
            </a:r>
          </a:p>
          <a:p>
            <a:r>
              <a:rPr lang="de-DE" sz="1600"/>
              <a:t>Sicherheitslücken in Bibliotheken regelmäßig prüfen und Updates durchführen</a:t>
            </a:r>
          </a:p>
          <a:p>
            <a:r>
              <a:rPr lang="de-DE" sz="1600"/>
              <a:t>Nur vertrauenswürdige Quellen verwenden – Paketmanipulation ist möglich</a:t>
            </a:r>
          </a:p>
          <a:p>
            <a:pPr marL="0" indent="0">
              <a:lnSpc>
                <a:spcPct val="70000"/>
              </a:lnSpc>
              <a:buNone/>
            </a:pPr>
            <a:endParaRPr lang="de-DE" sz="1500"/>
          </a:p>
          <a:p>
            <a:pPr>
              <a:lnSpc>
                <a:spcPct val="70000"/>
              </a:lnSpc>
            </a:pPr>
            <a:endParaRPr lang="de-DE" sz="1500"/>
          </a:p>
          <a:p>
            <a:pPr>
              <a:lnSpc>
                <a:spcPct val="70000"/>
              </a:lnSpc>
            </a:pPr>
            <a:endParaRPr lang="de-DE" sz="1500"/>
          </a:p>
        </p:txBody>
      </p:sp>
    </p:spTree>
    <p:extLst>
      <p:ext uri="{BB962C8B-B14F-4D97-AF65-F5344CB8AC3E}">
        <p14:creationId xmlns:p14="http://schemas.microsoft.com/office/powerpoint/2010/main" val="19302975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A3B32D-402C-EF3F-2149-3619A1F0D2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2C28817-F5C3-5158-18A2-0EAD9E724F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2C28817-F5C3-5158-18A2-0EAD9E724F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0D4D0D5-5736-B2CF-FB18-F6174B87B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b="1"/>
              <a:t>Security </a:t>
            </a:r>
            <a:r>
              <a:rPr lang="de-DE" b="1" err="1"/>
              <a:t>Risks</a:t>
            </a:r>
            <a:endParaRPr lang="de-DE" b="1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3570FA2-B925-14C2-2D76-BC6EB86224C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83193"/>
            <a:ext cx="10515600" cy="4337134"/>
          </a:xfrm>
        </p:spPr>
        <p:txBody>
          <a:bodyPr>
            <a:normAutofit/>
          </a:bodyPr>
          <a:lstStyle/>
          <a:p>
            <a:pPr marL="0" indent="0">
              <a:buFont typeface="Arial" panose="020B0604020202020204" pitchFamily="34" charset="0"/>
              <a:buNone/>
            </a:pPr>
            <a:r>
              <a:rPr lang="de-DE" sz="1600" b="1"/>
              <a:t>Pickle</a:t>
            </a:r>
          </a:p>
          <a:p>
            <a:r>
              <a:rPr lang="de-DE" sz="1600"/>
              <a:t>Modul, um Python-Objekte zu (de)serialisieren </a:t>
            </a:r>
            <a:r>
              <a:rPr lang="de-DE" sz="1600">
                <a:sym typeface="Wingdings" panose="05000000000000000000" pitchFamily="2" charset="2"/>
              </a:rPr>
              <a:t> unsicher</a:t>
            </a:r>
            <a:endParaRPr lang="de-DE" sz="1600"/>
          </a:p>
          <a:p>
            <a:endParaRPr lang="de-DE" sz="1600"/>
          </a:p>
          <a:p>
            <a:pPr marL="0" indent="0">
              <a:buNone/>
            </a:pPr>
            <a:r>
              <a:rPr lang="de-DE" sz="1600" b="1"/>
              <a:t>Version Control</a:t>
            </a:r>
          </a:p>
          <a:p>
            <a:r>
              <a:rPr lang="de-DE" sz="1600"/>
              <a:t>GitHub Repos: schwer, Daten endgültig zu löschen, sobald einmal hochgeladen </a:t>
            </a:r>
          </a:p>
          <a:p>
            <a:r>
              <a:rPr lang="de-DE" sz="1600"/>
              <a:t>Sensible Daten und API Keys am besten nicht auf </a:t>
            </a:r>
            <a:r>
              <a:rPr lang="de-DE" sz="1600" err="1"/>
              <a:t>Git</a:t>
            </a:r>
            <a:endParaRPr lang="de-DE" sz="1600"/>
          </a:p>
          <a:p>
            <a:endParaRPr lang="de-DE" sz="1600"/>
          </a:p>
          <a:p>
            <a:pPr marL="0" indent="0">
              <a:buNone/>
            </a:pPr>
            <a:r>
              <a:rPr lang="de-DE" sz="1600" b="1"/>
              <a:t>API-Sicherheit</a:t>
            </a:r>
            <a:endParaRPr lang="de-DE" sz="1600"/>
          </a:p>
          <a:p>
            <a:r>
              <a:rPr lang="de-DE" sz="1600"/>
              <a:t>APIs ohne Absicherung = öffentlich zugängliche Daten</a:t>
            </a:r>
          </a:p>
          <a:p>
            <a:r>
              <a:rPr lang="de-DE" sz="1600"/>
              <a:t>Grundschutz: HTTPS, Authentifizierung</a:t>
            </a:r>
          </a:p>
          <a:p>
            <a:r>
              <a:rPr lang="de-DE" sz="1600"/>
              <a:t>Risiken: SQL-</a:t>
            </a:r>
            <a:r>
              <a:rPr lang="de-DE" sz="1600" err="1"/>
              <a:t>Injection</a:t>
            </a:r>
            <a:r>
              <a:rPr lang="de-DE" sz="1600"/>
              <a:t>, unsichere Eingaben, Cross-Site-Attacken</a:t>
            </a:r>
          </a:p>
          <a:p>
            <a:r>
              <a:rPr lang="de-DE" sz="1600"/>
              <a:t>Empfehlung: API-Absicherung von Experten umsetzen lassen</a:t>
            </a:r>
            <a:endParaRPr lang="de-DE" sz="1500"/>
          </a:p>
          <a:p>
            <a:pPr>
              <a:lnSpc>
                <a:spcPct val="70000"/>
              </a:lnSpc>
            </a:pPr>
            <a:endParaRPr lang="de-DE" sz="1500"/>
          </a:p>
          <a:p>
            <a:pPr>
              <a:lnSpc>
                <a:spcPct val="70000"/>
              </a:lnSpc>
            </a:pPr>
            <a:endParaRPr lang="de-DE" sz="1500"/>
          </a:p>
        </p:txBody>
      </p:sp>
    </p:spTree>
    <p:extLst>
      <p:ext uri="{BB962C8B-B14F-4D97-AF65-F5344CB8AC3E}">
        <p14:creationId xmlns:p14="http://schemas.microsoft.com/office/powerpoint/2010/main" val="19709323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599AA5-B636-CD10-AC83-793C6060C1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B740C77-14B7-6D24-B247-3FF20D9D28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740C77-14B7-6D24-B247-3FF20D9D28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feld 4">
            <a:extLst>
              <a:ext uri="{FF2B5EF4-FFF2-40B4-BE49-F238E27FC236}">
                <a16:creationId xmlns:a16="http://schemas.microsoft.com/office/drawing/2014/main" id="{6DEF7712-6CED-0530-0D62-E45FF9FEDB01}"/>
              </a:ext>
            </a:extLst>
          </p:cNvPr>
          <p:cNvSpPr txBox="1"/>
          <p:nvPr/>
        </p:nvSpPr>
        <p:spPr>
          <a:xfrm>
            <a:off x="929438" y="2921168"/>
            <a:ext cx="7685171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6000" b="1"/>
              <a:t>Security Practices</a:t>
            </a:r>
            <a:endParaRPr lang="de-DE" sz="6000"/>
          </a:p>
        </p:txBody>
      </p:sp>
    </p:spTree>
    <p:extLst>
      <p:ext uri="{BB962C8B-B14F-4D97-AF65-F5344CB8AC3E}">
        <p14:creationId xmlns:p14="http://schemas.microsoft.com/office/powerpoint/2010/main" val="21551299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DE97D24-E937-82A2-7F23-26DBD3B234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8881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DE97D24-E937-82A2-7F23-26DBD3B234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E162B5A-CDDE-DABB-3449-55E273649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b="1"/>
              <a:t>Security Practi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3C5CC11-1283-90D7-4BDB-4CCF3F8E85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82536"/>
            <a:ext cx="10515600" cy="1735723"/>
          </a:xfrm>
        </p:spPr>
        <p:txBody>
          <a:bodyPr>
            <a:normAutofit/>
          </a:bodyPr>
          <a:lstStyle/>
          <a:p>
            <a:r>
              <a:rPr lang="de-DE" sz="1600"/>
              <a:t>Sicherheitsrisiken ändern sich ständig – regelmäßige Updates nötig</a:t>
            </a:r>
          </a:p>
          <a:p>
            <a:r>
              <a:rPr lang="de-DE" sz="1600"/>
              <a:t>Ziel: Risiken erkennen, begrenzen und automatisiert minimieren</a:t>
            </a:r>
          </a:p>
          <a:p>
            <a:r>
              <a:rPr lang="de-DE" sz="1600"/>
              <a:t>Tools und Prozesse helfen, typische Schwachstellen früh zu finden</a:t>
            </a:r>
          </a:p>
        </p:txBody>
      </p:sp>
    </p:spTree>
    <p:extLst>
      <p:ext uri="{BB962C8B-B14F-4D97-AF65-F5344CB8AC3E}">
        <p14:creationId xmlns:p14="http://schemas.microsoft.com/office/powerpoint/2010/main" val="41185104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B92E08-E798-E120-7614-28993F3717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7A95BEE-D3C5-7BBD-B2B7-26E32A6DDA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A95BEE-D3C5-7BBD-B2B7-26E32A6DDA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50F1555-15FA-23EF-A31B-A5A1B77788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b="1"/>
              <a:t>Security Practi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F843D1C-2D2B-A4D2-B5BA-09FF7C4785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789530"/>
            <a:ext cx="10515600" cy="485190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sz="1600" b="1"/>
              <a:t>Sicherheitsreviews &amp; </a:t>
            </a:r>
            <a:r>
              <a:rPr lang="de-DE" sz="1600" b="1" err="1"/>
              <a:t>Policies</a:t>
            </a:r>
            <a:endParaRPr lang="de-DE" sz="1600" b="1"/>
          </a:p>
          <a:p>
            <a:r>
              <a:rPr lang="de-DE" sz="1600" err="1"/>
              <a:t>Threat</a:t>
            </a:r>
            <a:r>
              <a:rPr lang="de-DE" sz="1600"/>
              <a:t> Modeling: Identifikation möglicher Angriffsflächen vorab</a:t>
            </a:r>
          </a:p>
          <a:p>
            <a:r>
              <a:rPr lang="de-DE" sz="1600"/>
              <a:t>„Least Privilege“-Prinzip: Zugriff nur auf nötige Daten</a:t>
            </a:r>
          </a:p>
          <a:p>
            <a:r>
              <a:rPr lang="de-DE" sz="1600"/>
              <a:t>Vorgaben zu Passwörtern, MFA, erlaubter Software</a:t>
            </a:r>
          </a:p>
          <a:p>
            <a:r>
              <a:rPr lang="de-DE" sz="1600"/>
              <a:t>Sicherheitsreviews setzen </a:t>
            </a:r>
            <a:r>
              <a:rPr lang="de-DE" sz="1600" err="1"/>
              <a:t>Policies</a:t>
            </a:r>
            <a:r>
              <a:rPr lang="de-DE" sz="1600"/>
              <a:t> um und binden Fachleute ein</a:t>
            </a:r>
          </a:p>
          <a:p>
            <a:pPr marL="0" indent="0">
              <a:buNone/>
            </a:pPr>
            <a:endParaRPr lang="de-DE" sz="1600"/>
          </a:p>
          <a:p>
            <a:pPr marL="0" indent="0">
              <a:buNone/>
            </a:pPr>
            <a:r>
              <a:rPr lang="de-DE" sz="1600" b="1"/>
              <a:t>Tools für sicheres Coden</a:t>
            </a:r>
          </a:p>
          <a:p>
            <a:r>
              <a:rPr lang="de-DE" sz="1600"/>
              <a:t>Statische Codeanalyse prüft Code ohne Ausführung</a:t>
            </a:r>
          </a:p>
          <a:p>
            <a:r>
              <a:rPr lang="de-DE" sz="1600"/>
              <a:t>Tools wie Bandit, </a:t>
            </a:r>
            <a:r>
              <a:rPr lang="de-DE" sz="1600" err="1"/>
              <a:t>SonarQube</a:t>
            </a:r>
            <a:r>
              <a:rPr lang="de-DE" sz="1600"/>
              <a:t> oder </a:t>
            </a:r>
            <a:r>
              <a:rPr lang="de-DE" sz="1600" err="1"/>
              <a:t>Checkmarx</a:t>
            </a:r>
            <a:r>
              <a:rPr lang="de-DE" sz="1600"/>
              <a:t> erkennen Schwachstellen</a:t>
            </a:r>
          </a:p>
          <a:p>
            <a:r>
              <a:rPr lang="de-DE" sz="1600"/>
              <a:t>CI/CD-Integration verhindert fehlerhafte </a:t>
            </a:r>
            <a:r>
              <a:rPr lang="de-DE" sz="1600" err="1"/>
              <a:t>Deployments</a:t>
            </a:r>
            <a:endParaRPr lang="de-DE" sz="1600"/>
          </a:p>
          <a:p>
            <a:r>
              <a:rPr lang="de-DE" sz="1600" err="1"/>
              <a:t>Dependabot</a:t>
            </a:r>
            <a:r>
              <a:rPr lang="de-DE" sz="1600"/>
              <a:t> (GitHub): überwacht abhängige Bibliotheken</a:t>
            </a:r>
          </a:p>
        </p:txBody>
      </p:sp>
    </p:spTree>
    <p:extLst>
      <p:ext uri="{BB962C8B-B14F-4D97-AF65-F5344CB8AC3E}">
        <p14:creationId xmlns:p14="http://schemas.microsoft.com/office/powerpoint/2010/main" val="19486785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Application>Microsoft Office PowerPoint</Application>
  <PresentationFormat>Widescreen</PresentationFormat>
  <Slides>17</Slides>
  <Notes>0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18" baseType="lpstr">
      <vt:lpstr>Office</vt:lpstr>
      <vt:lpstr>Software Engineering for Data Scientists</vt:lpstr>
      <vt:lpstr>PowerPoint Presentation</vt:lpstr>
      <vt:lpstr>What is Security?</vt:lpstr>
      <vt:lpstr>PowerPoint Presentation</vt:lpstr>
      <vt:lpstr>Security Risks</vt:lpstr>
      <vt:lpstr>Security Risks</vt:lpstr>
      <vt:lpstr>PowerPoint Presentation</vt:lpstr>
      <vt:lpstr>Security Practices</vt:lpstr>
      <vt:lpstr>Security Practices</vt:lpstr>
      <vt:lpstr>Security Practices</vt:lpstr>
      <vt:lpstr>Security Practices</vt:lpstr>
      <vt:lpstr>Security Practices</vt:lpstr>
      <vt:lpstr>PowerPoint Presentation</vt:lpstr>
      <vt:lpstr>Security for Machine Learning</vt:lpstr>
      <vt:lpstr>Security for Machine Learning</vt:lpstr>
      <vt:lpstr>Security for Machine Learning</vt:lpstr>
      <vt:lpstr>Danke fürs Zuhöre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Johannes Nathues</dc:creator>
  <cp:revision>1</cp:revision>
  <dcterms:created xsi:type="dcterms:W3CDTF">2025-06-22T13:30:44Z</dcterms:created>
  <dcterms:modified xsi:type="dcterms:W3CDTF">2025-06-26T09:32:03Z</dcterms:modified>
</cp:coreProperties>
</file>